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commentAuthors.xml" ContentType="application/vnd.openxmlformats-officedocument.presentationml.commentAuthors+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Override PartName="/ppt/diagrams/data3.xml" ContentType="application/vnd.openxmlformats-officedocument.drawingml.diagramData+xml"/>
  <Override PartName="/ppt/diagrams/colors5.xml" ContentType="application/vnd.openxmlformats-officedocument.drawingml.diagramColors+xml"/>
  <Override PartName="/ppt/diagrams/colors6.xml" ContentType="application/vnd.openxmlformats-officedocument.drawingml.diagramCol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colors4.xml" ContentType="application/vnd.openxmlformats-officedocument.drawingml.diagramColors+xml"/>
  <Override PartName="/ppt/diagrams/quickStyle6.xml" ContentType="application/vnd.openxmlformats-officedocument.drawingml.diagramStyl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22"/>
  </p:notesMasterIdLst>
  <p:handoutMasterIdLst>
    <p:handoutMasterId r:id="rId23"/>
  </p:handoutMasterIdLst>
  <p:sldIdLst>
    <p:sldId id="1229" r:id="rId2"/>
    <p:sldId id="1323" r:id="rId3"/>
    <p:sldId id="1324" r:id="rId4"/>
    <p:sldId id="1338" r:id="rId5"/>
    <p:sldId id="1339" r:id="rId6"/>
    <p:sldId id="1340" r:id="rId7"/>
    <p:sldId id="1341" r:id="rId8"/>
    <p:sldId id="1342" r:id="rId9"/>
    <p:sldId id="1343" r:id="rId10"/>
    <p:sldId id="1344" r:id="rId11"/>
    <p:sldId id="1345" r:id="rId12"/>
    <p:sldId id="1346" r:id="rId13"/>
    <p:sldId id="1347" r:id="rId14"/>
    <p:sldId id="1351" r:id="rId15"/>
    <p:sldId id="1352" r:id="rId16"/>
    <p:sldId id="1353" r:id="rId17"/>
    <p:sldId id="1354" r:id="rId18"/>
    <p:sldId id="1357" r:id="rId19"/>
    <p:sldId id="1358" r:id="rId20"/>
    <p:sldId id="1359" r:id="rId21"/>
  </p:sldIdLst>
  <p:sldSz cx="9906000" cy="6858000" type="A4"/>
  <p:notesSz cx="6794500" cy="9931400"/>
  <p:custShowLst>
    <p:custShow name="Custom Show 1" id="0">
      <p:sldLst/>
    </p:custShow>
  </p:custShowLst>
  <p:custDataLst>
    <p:tags r:id="rId2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showPr>
  <p:clrMru>
    <a:srgbClr val="4D4D4D"/>
    <a:srgbClr val="003399"/>
    <a:srgbClr val="0033CC"/>
    <a:srgbClr val="808080"/>
    <a:srgbClr val="777777"/>
    <a:srgbClr val="9999FF"/>
    <a:srgbClr val="666699"/>
    <a:srgbClr val="969696"/>
  </p:clrMru>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6211" autoAdjust="0"/>
    <p:restoredTop sz="95252" autoAdjust="0"/>
  </p:normalViewPr>
  <p:slideViewPr>
    <p:cSldViewPr>
      <p:cViewPr>
        <p:scale>
          <a:sx n="75" d="100"/>
          <a:sy n="75" d="100"/>
        </p:scale>
        <p:origin x="-606" y="-738"/>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A327B2-534A-415B-817F-AE0B25FEC1D4}" type="doc">
      <dgm:prSet loTypeId="urn:microsoft.com/office/officeart/2005/8/layout/default#1" loCatId="list" qsTypeId="urn:microsoft.com/office/officeart/2005/8/quickstyle/simple1#1" qsCatId="simple" csTypeId="urn:microsoft.com/office/officeart/2005/8/colors/accent4_2" csCatId="accent4" phldr="1"/>
      <dgm:spPr/>
      <dgm:t>
        <a:bodyPr/>
        <a:lstStyle/>
        <a:p>
          <a:endParaRPr lang="es-ES"/>
        </a:p>
      </dgm:t>
    </dgm:pt>
    <dgm:pt modelId="{BC2D10C7-EAFE-48D5-B40C-CFED8CBBBCD9}">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800" noProof="0" dirty="0" smtClean="0">
              <a:solidFill>
                <a:schemeClr val="bg1"/>
              </a:solidFill>
            </a:rPr>
            <a:t>Companies</a:t>
          </a:r>
          <a:endParaRPr lang="en-US" sz="1800" noProof="0" dirty="0">
            <a:solidFill>
              <a:schemeClr val="bg1"/>
            </a:solidFill>
          </a:endParaRPr>
        </a:p>
      </dgm:t>
    </dgm:pt>
    <dgm:pt modelId="{3B977812-8EE3-40AA-B074-948AD0FDF4B4}" type="parTrans" cxnId="{A5679D86-BBDF-47D5-8675-C706ABAF0D7E}">
      <dgm:prSet/>
      <dgm:spPr/>
      <dgm:t>
        <a:bodyPr/>
        <a:lstStyle/>
        <a:p>
          <a:endParaRPr lang="es-ES">
            <a:solidFill>
              <a:schemeClr val="tx1"/>
            </a:solidFill>
          </a:endParaRPr>
        </a:p>
      </dgm:t>
    </dgm:pt>
    <dgm:pt modelId="{07DC3023-41EE-45E9-8629-8AAC613CCC67}" type="sibTrans" cxnId="{A5679D86-BBDF-47D5-8675-C706ABAF0D7E}">
      <dgm:prSet/>
      <dgm:spPr/>
      <dgm:t>
        <a:bodyPr/>
        <a:lstStyle/>
        <a:p>
          <a:endParaRPr lang="es-ES">
            <a:solidFill>
              <a:schemeClr val="tx1"/>
            </a:solidFill>
          </a:endParaRPr>
        </a:p>
      </dgm:t>
    </dgm:pt>
    <dgm:pt modelId="{54455A03-82BC-4818-A27F-726E83097CDC}">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800" noProof="0" dirty="0" smtClean="0">
              <a:solidFill>
                <a:schemeClr val="bg1"/>
              </a:solidFill>
            </a:rPr>
            <a:t>Workers</a:t>
          </a:r>
          <a:endParaRPr lang="en-US" sz="1800" noProof="0" dirty="0">
            <a:solidFill>
              <a:schemeClr val="bg1"/>
            </a:solidFill>
          </a:endParaRPr>
        </a:p>
      </dgm:t>
    </dgm:pt>
    <dgm:pt modelId="{3AB0E95D-320E-4EEE-ABF2-96BA523CCB73}" type="parTrans" cxnId="{C6F8CA1C-27C0-40BB-A42F-691433D0E7E3}">
      <dgm:prSet/>
      <dgm:spPr/>
      <dgm:t>
        <a:bodyPr/>
        <a:lstStyle/>
        <a:p>
          <a:endParaRPr lang="es-ES">
            <a:solidFill>
              <a:schemeClr val="tx1"/>
            </a:solidFill>
          </a:endParaRPr>
        </a:p>
      </dgm:t>
    </dgm:pt>
    <dgm:pt modelId="{B7B2ED09-F76C-4055-89A5-58B396113E79}" type="sibTrans" cxnId="{C6F8CA1C-27C0-40BB-A42F-691433D0E7E3}">
      <dgm:prSet/>
      <dgm:spPr/>
      <dgm:t>
        <a:bodyPr/>
        <a:lstStyle/>
        <a:p>
          <a:endParaRPr lang="es-ES">
            <a:solidFill>
              <a:schemeClr val="tx1"/>
            </a:solidFill>
          </a:endParaRPr>
        </a:p>
      </dgm:t>
    </dgm:pt>
    <dgm:pt modelId="{A3836CA7-54AE-48E3-BA00-04FCA9E4775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800" noProof="0" dirty="0" smtClean="0">
              <a:solidFill>
                <a:schemeClr val="bg1"/>
              </a:solidFill>
            </a:rPr>
            <a:t>Benefits</a:t>
          </a:r>
          <a:endParaRPr lang="en-US" sz="1800" noProof="0" dirty="0">
            <a:solidFill>
              <a:schemeClr val="bg1"/>
            </a:solidFill>
          </a:endParaRPr>
        </a:p>
      </dgm:t>
    </dgm:pt>
    <dgm:pt modelId="{56377365-CB2F-40FA-95C6-D70F3501758E}" type="parTrans" cxnId="{247C5270-808B-441B-91B9-B1B8DBFF5B58}">
      <dgm:prSet/>
      <dgm:spPr/>
      <dgm:t>
        <a:bodyPr/>
        <a:lstStyle/>
        <a:p>
          <a:endParaRPr lang="es-ES">
            <a:solidFill>
              <a:schemeClr val="tx1"/>
            </a:solidFill>
          </a:endParaRPr>
        </a:p>
      </dgm:t>
    </dgm:pt>
    <dgm:pt modelId="{7136AE5C-D085-494F-A3F1-964F709964C6}" type="sibTrans" cxnId="{247C5270-808B-441B-91B9-B1B8DBFF5B58}">
      <dgm:prSet/>
      <dgm:spPr/>
      <dgm:t>
        <a:bodyPr/>
        <a:lstStyle/>
        <a:p>
          <a:endParaRPr lang="es-ES">
            <a:solidFill>
              <a:schemeClr val="tx1"/>
            </a:solidFill>
          </a:endParaRPr>
        </a:p>
      </dgm:t>
    </dgm:pt>
    <dgm:pt modelId="{100FBC05-12DF-4648-AC53-D28D842F8748}">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Information related benefits to temporary suspension of work activity</a:t>
          </a:r>
          <a:endParaRPr lang="en-US" sz="1200" b="1" noProof="0" dirty="0">
            <a:solidFill>
              <a:schemeClr val="bg1"/>
            </a:solidFill>
          </a:endParaRPr>
        </a:p>
      </dgm:t>
    </dgm:pt>
    <dgm:pt modelId="{67BAC1F7-4565-44B2-8D03-45EB97E20A05}" type="parTrans" cxnId="{E1B56801-7BD9-42A4-971F-2FB59BF8396E}">
      <dgm:prSet/>
      <dgm:spPr/>
      <dgm:t>
        <a:bodyPr/>
        <a:lstStyle/>
        <a:p>
          <a:endParaRPr lang="es-ES">
            <a:solidFill>
              <a:schemeClr val="tx1"/>
            </a:solidFill>
          </a:endParaRPr>
        </a:p>
      </dgm:t>
    </dgm:pt>
    <dgm:pt modelId="{6BC23EB3-80DC-4502-855F-0CCF0BEFF945}" type="sibTrans" cxnId="{E1B56801-7BD9-42A4-971F-2FB59BF8396E}">
      <dgm:prSet/>
      <dgm:spPr/>
      <dgm:t>
        <a:bodyPr/>
        <a:lstStyle/>
        <a:p>
          <a:endParaRPr lang="es-ES">
            <a:solidFill>
              <a:schemeClr val="tx1"/>
            </a:solidFill>
          </a:endParaRPr>
        </a:p>
      </dgm:t>
    </dgm:pt>
    <dgm:pt modelId="{E047C12D-AAD8-48F1-ACD8-AE1A71F65002}">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800" noProof="0" dirty="0" smtClean="0">
              <a:solidFill>
                <a:schemeClr val="bg1"/>
              </a:solidFill>
            </a:rPr>
            <a:t>External sources</a:t>
          </a:r>
          <a:endParaRPr lang="en-US" sz="1800" noProof="0" dirty="0">
            <a:solidFill>
              <a:schemeClr val="bg1"/>
            </a:solidFill>
          </a:endParaRPr>
        </a:p>
      </dgm:t>
    </dgm:pt>
    <dgm:pt modelId="{F9CA8540-5D05-4933-BDAD-0777A66B755B}" type="parTrans" cxnId="{1BEC0A97-F1E2-4597-B8B4-930A89762B90}">
      <dgm:prSet/>
      <dgm:spPr/>
      <dgm:t>
        <a:bodyPr/>
        <a:lstStyle/>
        <a:p>
          <a:endParaRPr lang="es-ES">
            <a:solidFill>
              <a:schemeClr val="tx1"/>
            </a:solidFill>
          </a:endParaRPr>
        </a:p>
      </dgm:t>
    </dgm:pt>
    <dgm:pt modelId="{F2727BE9-7E44-41B1-868B-70003E1793D6}" type="sibTrans" cxnId="{1BEC0A97-F1E2-4597-B8B4-930A89762B90}">
      <dgm:prSet/>
      <dgm:spPr/>
      <dgm:t>
        <a:bodyPr/>
        <a:lstStyle/>
        <a:p>
          <a:endParaRPr lang="es-ES">
            <a:solidFill>
              <a:schemeClr val="tx1"/>
            </a:solidFill>
          </a:endParaRPr>
        </a:p>
      </dgm:t>
    </dgm:pt>
    <dgm:pt modelId="{C7572F5E-37B9-465E-9C0D-069098B6987B}">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err="1" smtClean="0">
              <a:solidFill>
                <a:schemeClr val="bg1"/>
              </a:solidFill>
            </a:rPr>
            <a:t>Informa</a:t>
          </a:r>
          <a:endParaRPr lang="en-US" sz="1200" b="1" noProof="0" dirty="0">
            <a:solidFill>
              <a:schemeClr val="bg1"/>
            </a:solidFill>
          </a:endParaRPr>
        </a:p>
      </dgm:t>
    </dgm:pt>
    <dgm:pt modelId="{40053058-007E-4A57-A229-8E12C7E133C3}" type="parTrans" cxnId="{07581097-40AF-4DA3-93C9-78281BE337D5}">
      <dgm:prSet/>
      <dgm:spPr/>
      <dgm:t>
        <a:bodyPr/>
        <a:lstStyle/>
        <a:p>
          <a:endParaRPr lang="es-ES">
            <a:solidFill>
              <a:schemeClr val="tx1"/>
            </a:solidFill>
          </a:endParaRPr>
        </a:p>
      </dgm:t>
    </dgm:pt>
    <dgm:pt modelId="{0829487E-9C4A-4CEB-9A75-5057B3E08CEC}" type="sibTrans" cxnId="{07581097-40AF-4DA3-93C9-78281BE337D5}">
      <dgm:prSet/>
      <dgm:spPr/>
      <dgm:t>
        <a:bodyPr/>
        <a:lstStyle/>
        <a:p>
          <a:endParaRPr lang="es-ES">
            <a:solidFill>
              <a:schemeClr val="tx1"/>
            </a:solidFill>
          </a:endParaRPr>
        </a:p>
      </dgm:t>
    </dgm:pt>
    <dgm:pt modelId="{AC15DEAB-44C2-4674-B79E-5E8D48C38D03}">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AET</a:t>
          </a:r>
          <a:endParaRPr lang="en-US" sz="1200" b="1" noProof="0" dirty="0">
            <a:solidFill>
              <a:schemeClr val="bg1"/>
            </a:solidFill>
          </a:endParaRPr>
        </a:p>
      </dgm:t>
    </dgm:pt>
    <dgm:pt modelId="{6596971B-5FD7-4AB3-9C52-54056DFC6BE5}" type="parTrans" cxnId="{B56DDFE6-7383-40CD-B3BF-391606EB14FB}">
      <dgm:prSet/>
      <dgm:spPr/>
      <dgm:t>
        <a:bodyPr/>
        <a:lstStyle/>
        <a:p>
          <a:endParaRPr lang="es-ES">
            <a:solidFill>
              <a:schemeClr val="tx1"/>
            </a:solidFill>
          </a:endParaRPr>
        </a:p>
      </dgm:t>
    </dgm:pt>
    <dgm:pt modelId="{4E8A3A98-C5D0-4D28-90E7-95C61C4E0ACB}" type="sibTrans" cxnId="{B56DDFE6-7383-40CD-B3BF-391606EB14FB}">
      <dgm:prSet/>
      <dgm:spPr/>
      <dgm:t>
        <a:bodyPr/>
        <a:lstStyle/>
        <a:p>
          <a:endParaRPr lang="es-ES">
            <a:solidFill>
              <a:schemeClr val="tx1"/>
            </a:solidFill>
          </a:endParaRPr>
        </a:p>
      </dgm:t>
    </dgm:pt>
    <dgm:pt modelId="{A1C89E8B-B992-4977-8CCF-17FCABDAACCD}">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SEPE</a:t>
          </a:r>
        </a:p>
      </dgm:t>
    </dgm:pt>
    <dgm:pt modelId="{916F665E-0800-4246-A54F-459C053E7916}" type="parTrans" cxnId="{A1A1EE46-B88A-480A-BD70-D4AD497A1149}">
      <dgm:prSet/>
      <dgm:spPr/>
      <dgm:t>
        <a:bodyPr/>
        <a:lstStyle/>
        <a:p>
          <a:endParaRPr lang="es-ES">
            <a:solidFill>
              <a:schemeClr val="tx1"/>
            </a:solidFill>
          </a:endParaRPr>
        </a:p>
      </dgm:t>
    </dgm:pt>
    <dgm:pt modelId="{6F8346E0-59C8-4BA7-834D-E2E163CE922D}" type="sibTrans" cxnId="{A1A1EE46-B88A-480A-BD70-D4AD497A1149}">
      <dgm:prSet/>
      <dgm:spPr/>
      <dgm:t>
        <a:bodyPr/>
        <a:lstStyle/>
        <a:p>
          <a:endParaRPr lang="es-ES">
            <a:solidFill>
              <a:schemeClr val="tx1"/>
            </a:solidFill>
          </a:endParaRPr>
        </a:p>
      </dgm:t>
    </dgm:pt>
    <dgm:pt modelId="{B80ECA96-8961-43E0-853B-7C594B819796}">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Registry of Commerce</a:t>
          </a:r>
        </a:p>
      </dgm:t>
    </dgm:pt>
    <dgm:pt modelId="{E44B4E7B-E7C7-4464-9158-BF4850D99280}" type="parTrans" cxnId="{D0BD9DE2-470A-4F56-8EB2-5F3E6FA12D5B}">
      <dgm:prSet/>
      <dgm:spPr/>
      <dgm:t>
        <a:bodyPr/>
        <a:lstStyle/>
        <a:p>
          <a:endParaRPr lang="es-ES">
            <a:solidFill>
              <a:schemeClr val="tx1"/>
            </a:solidFill>
          </a:endParaRPr>
        </a:p>
      </dgm:t>
    </dgm:pt>
    <dgm:pt modelId="{BE85C1AE-E7E4-4F09-8A84-B98DB012D515}" type="sibTrans" cxnId="{D0BD9DE2-470A-4F56-8EB2-5F3E6FA12D5B}">
      <dgm:prSet/>
      <dgm:spPr/>
      <dgm:t>
        <a:bodyPr/>
        <a:lstStyle/>
        <a:p>
          <a:endParaRPr lang="es-ES">
            <a:solidFill>
              <a:schemeClr val="tx1"/>
            </a:solidFill>
          </a:endParaRPr>
        </a:p>
      </dgm:t>
    </dgm:pt>
    <dgm:pt modelId="{C71B9B2D-E23F-4E38-A65D-DAD1B9202C68}">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200" b="1" noProof="0" dirty="0" smtClean="0">
              <a:solidFill>
                <a:schemeClr val="bg1"/>
              </a:solidFill>
            </a:rPr>
            <a:t>List of members and their contracts have had activity at any time since January 2011</a:t>
          </a:r>
          <a:endParaRPr lang="en-US" sz="1200" b="1" noProof="0" dirty="0">
            <a:solidFill>
              <a:schemeClr val="bg1"/>
            </a:solidFill>
          </a:endParaRPr>
        </a:p>
      </dgm:t>
    </dgm:pt>
    <dgm:pt modelId="{5B9D19A0-0DBF-4D4C-8AB5-6DA589E2193D}" type="parTrans" cxnId="{286C3052-21D3-437F-8626-C882B3D2B0C6}">
      <dgm:prSet/>
      <dgm:spPr/>
      <dgm:t>
        <a:bodyPr/>
        <a:lstStyle/>
        <a:p>
          <a:endParaRPr lang="es-ES">
            <a:solidFill>
              <a:schemeClr val="tx1"/>
            </a:solidFill>
          </a:endParaRPr>
        </a:p>
      </dgm:t>
    </dgm:pt>
    <dgm:pt modelId="{B4C860B3-7DD2-43E6-A477-6D1C0602A3FA}" type="sibTrans" cxnId="{286C3052-21D3-437F-8626-C882B3D2B0C6}">
      <dgm:prSet/>
      <dgm:spPr/>
      <dgm:t>
        <a:bodyPr/>
        <a:lstStyle/>
        <a:p>
          <a:endParaRPr lang="es-ES">
            <a:solidFill>
              <a:schemeClr val="tx1"/>
            </a:solidFill>
          </a:endParaRPr>
        </a:p>
      </dgm:t>
    </dgm:pt>
    <dgm:pt modelId="{F7B93FAC-1677-43B0-8069-85B0D1969693}">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200" b="1" noProof="0" dirty="0" smtClean="0">
              <a:solidFill>
                <a:schemeClr val="bg1"/>
              </a:solidFill>
            </a:rPr>
            <a:t>List of companies with activity at any time since January 2011</a:t>
          </a:r>
          <a:endParaRPr lang="en-US" sz="1200" b="1" noProof="0" dirty="0">
            <a:solidFill>
              <a:schemeClr val="bg1"/>
            </a:solidFill>
          </a:endParaRPr>
        </a:p>
      </dgm:t>
    </dgm:pt>
    <dgm:pt modelId="{B8024A24-DB16-4BDC-BDAB-A7ABB89DAAB9}" type="sibTrans" cxnId="{3839BC5A-E0E8-4DB7-B221-4EBB44BD9BC2}">
      <dgm:prSet/>
      <dgm:spPr/>
      <dgm:t>
        <a:bodyPr/>
        <a:lstStyle/>
        <a:p>
          <a:endParaRPr lang="es-ES">
            <a:solidFill>
              <a:schemeClr val="tx1"/>
            </a:solidFill>
          </a:endParaRPr>
        </a:p>
      </dgm:t>
    </dgm:pt>
    <dgm:pt modelId="{90886316-D964-4CC1-BBD5-AEB2A5333405}" type="parTrans" cxnId="{3839BC5A-E0E8-4DB7-B221-4EBB44BD9BC2}">
      <dgm:prSet/>
      <dgm:spPr/>
      <dgm:t>
        <a:bodyPr/>
        <a:lstStyle/>
        <a:p>
          <a:endParaRPr lang="es-ES">
            <a:solidFill>
              <a:schemeClr val="tx1"/>
            </a:solidFill>
          </a:endParaRPr>
        </a:p>
      </dgm:t>
    </dgm:pt>
    <dgm:pt modelId="{D52DD652-B84D-4687-BB60-A738CE54F48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800" noProof="0" dirty="0" smtClean="0">
              <a:solidFill>
                <a:schemeClr val="bg1"/>
              </a:solidFill>
            </a:rPr>
            <a:t>Quotes</a:t>
          </a:r>
          <a:endParaRPr lang="en-US" sz="1800" noProof="0" dirty="0">
            <a:solidFill>
              <a:schemeClr val="bg1"/>
            </a:solidFill>
          </a:endParaRPr>
        </a:p>
      </dgm:t>
    </dgm:pt>
    <dgm:pt modelId="{A8202BE4-456D-46DF-865D-B998F023E32C}" type="parTrans" cxnId="{1DDA2D33-E115-439E-A30E-7AAAE553DAAB}">
      <dgm:prSet/>
      <dgm:spPr/>
      <dgm:t>
        <a:bodyPr/>
        <a:lstStyle/>
        <a:p>
          <a:endParaRPr lang="es-ES">
            <a:solidFill>
              <a:schemeClr val="tx1"/>
            </a:solidFill>
          </a:endParaRPr>
        </a:p>
      </dgm:t>
    </dgm:pt>
    <dgm:pt modelId="{73EC84E1-F2CA-4621-B6DD-3F4B41148A2E}" type="sibTrans" cxnId="{1DDA2D33-E115-439E-A30E-7AAAE553DAAB}">
      <dgm:prSet/>
      <dgm:spPr/>
      <dgm:t>
        <a:bodyPr/>
        <a:lstStyle/>
        <a:p>
          <a:endParaRPr lang="es-ES">
            <a:solidFill>
              <a:schemeClr val="tx1"/>
            </a:solidFill>
          </a:endParaRPr>
        </a:p>
      </dgm:t>
    </dgm:pt>
    <dgm:pt modelId="{4E7B044D-5E60-4053-B35E-3335FFF4301F}">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Collections</a:t>
          </a:r>
          <a:endParaRPr lang="en-US" sz="1200" b="1" noProof="0" dirty="0">
            <a:solidFill>
              <a:schemeClr val="bg1"/>
            </a:solidFill>
          </a:endParaRPr>
        </a:p>
      </dgm:t>
    </dgm:pt>
    <dgm:pt modelId="{B19B3828-FA12-4CD7-923A-6B1ABB002311}" type="parTrans" cxnId="{E5843E36-CA0B-4C42-8D8B-44144B90FDF6}">
      <dgm:prSet/>
      <dgm:spPr/>
      <dgm:t>
        <a:bodyPr/>
        <a:lstStyle/>
        <a:p>
          <a:endParaRPr lang="es-ES">
            <a:solidFill>
              <a:schemeClr val="tx1"/>
            </a:solidFill>
          </a:endParaRPr>
        </a:p>
      </dgm:t>
    </dgm:pt>
    <dgm:pt modelId="{32003FE3-D135-4748-B385-6FB113F0E3C6}" type="sibTrans" cxnId="{E5843E36-CA0B-4C42-8D8B-44144B90FDF6}">
      <dgm:prSet/>
      <dgm:spPr/>
      <dgm:t>
        <a:bodyPr/>
        <a:lstStyle/>
        <a:p>
          <a:endParaRPr lang="es-ES">
            <a:solidFill>
              <a:schemeClr val="tx1"/>
            </a:solidFill>
          </a:endParaRPr>
        </a:p>
      </dgm:t>
    </dgm:pt>
    <dgm:pt modelId="{297875DC-325A-406C-A29E-F81833875EA0}">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Referrals</a:t>
          </a:r>
          <a:endParaRPr lang="en-US" sz="1200" b="1" noProof="0" dirty="0">
            <a:solidFill>
              <a:schemeClr val="bg1"/>
            </a:solidFill>
          </a:endParaRPr>
        </a:p>
      </dgm:t>
    </dgm:pt>
    <dgm:pt modelId="{510AE33A-5642-4996-88B4-F8D69D735CF6}" type="parTrans" cxnId="{65394281-0B18-4352-A0AC-DAA280AABAAC}">
      <dgm:prSet/>
      <dgm:spPr/>
      <dgm:t>
        <a:bodyPr/>
        <a:lstStyle/>
        <a:p>
          <a:endParaRPr lang="es-ES">
            <a:solidFill>
              <a:schemeClr val="tx1"/>
            </a:solidFill>
          </a:endParaRPr>
        </a:p>
      </dgm:t>
    </dgm:pt>
    <dgm:pt modelId="{8E4FC1B2-774E-42C9-BF24-B63D66521157}" type="sibTrans" cxnId="{65394281-0B18-4352-A0AC-DAA280AABAAC}">
      <dgm:prSet/>
      <dgm:spPr/>
      <dgm:t>
        <a:bodyPr/>
        <a:lstStyle/>
        <a:p>
          <a:endParaRPr lang="es-ES">
            <a:solidFill>
              <a:schemeClr val="tx1"/>
            </a:solidFill>
          </a:endParaRPr>
        </a:p>
      </dgm:t>
    </dgm:pt>
    <dgm:pt modelId="{029E25A0-7584-49D9-AD29-5EBAC0013750}">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Contribution basis (already included)</a:t>
          </a:r>
          <a:endParaRPr lang="en-US" sz="1200" b="1" noProof="0" dirty="0">
            <a:solidFill>
              <a:schemeClr val="bg1"/>
            </a:solidFill>
          </a:endParaRPr>
        </a:p>
      </dgm:t>
    </dgm:pt>
    <dgm:pt modelId="{4185676B-41EC-48E5-809D-A7437066B24C}" type="parTrans" cxnId="{68DADDFE-B6DC-47BA-AB51-6716A3AA447C}">
      <dgm:prSet/>
      <dgm:spPr/>
      <dgm:t>
        <a:bodyPr/>
        <a:lstStyle/>
        <a:p>
          <a:endParaRPr lang="es-ES">
            <a:solidFill>
              <a:schemeClr val="tx1"/>
            </a:solidFill>
          </a:endParaRPr>
        </a:p>
      </dgm:t>
    </dgm:pt>
    <dgm:pt modelId="{59D0A9CB-5263-4CD5-9A90-4D2647A86E7D}" type="sibTrans" cxnId="{68DADDFE-B6DC-47BA-AB51-6716A3AA447C}">
      <dgm:prSet/>
      <dgm:spPr/>
      <dgm:t>
        <a:bodyPr/>
        <a:lstStyle/>
        <a:p>
          <a:endParaRPr lang="es-ES">
            <a:solidFill>
              <a:schemeClr val="tx1"/>
            </a:solidFill>
          </a:endParaRPr>
        </a:p>
      </dgm:t>
    </dgm:pt>
    <dgm:pt modelId="{B11D32D5-A5B1-4613-8185-527CCB584550}">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800" noProof="0" dirty="0" smtClean="0">
              <a:solidFill>
                <a:schemeClr val="bg1"/>
              </a:solidFill>
            </a:rPr>
            <a:t>Delinquency</a:t>
          </a:r>
          <a:endParaRPr lang="en-US" sz="1800" noProof="0" dirty="0">
            <a:solidFill>
              <a:schemeClr val="bg1"/>
            </a:solidFill>
          </a:endParaRPr>
        </a:p>
      </dgm:t>
    </dgm:pt>
    <dgm:pt modelId="{5B0A8B22-B793-4C1B-9194-F9CF11B70DAD}" type="parTrans" cxnId="{DD7CD1F8-DFB9-4AAA-9FB7-78A0723BAC09}">
      <dgm:prSet/>
      <dgm:spPr/>
      <dgm:t>
        <a:bodyPr/>
        <a:lstStyle/>
        <a:p>
          <a:endParaRPr lang="es-ES">
            <a:solidFill>
              <a:schemeClr val="tx1"/>
            </a:solidFill>
          </a:endParaRPr>
        </a:p>
      </dgm:t>
    </dgm:pt>
    <dgm:pt modelId="{6BC68A04-D43D-4431-86DC-70763E0597D5}" type="sibTrans" cxnId="{DD7CD1F8-DFB9-4AAA-9FB7-78A0723BAC09}">
      <dgm:prSet/>
      <dgm:spPr/>
      <dgm:t>
        <a:bodyPr/>
        <a:lstStyle/>
        <a:p>
          <a:endParaRPr lang="es-ES">
            <a:solidFill>
              <a:schemeClr val="tx1"/>
            </a:solidFill>
          </a:endParaRPr>
        </a:p>
      </dgm:t>
    </dgm:pt>
    <dgm:pt modelId="{C49D53CA-E9DF-4A80-9C62-4BDE5C5AABE1}">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200" b="1" noProof="0" dirty="0" smtClean="0">
              <a:solidFill>
                <a:schemeClr val="bg1"/>
              </a:solidFill>
            </a:rPr>
            <a:t>CCC or workers that have generated debt since January 2011</a:t>
          </a:r>
          <a:endParaRPr lang="en-US" sz="1200" b="1" noProof="0" dirty="0">
            <a:solidFill>
              <a:schemeClr val="bg1"/>
            </a:solidFill>
          </a:endParaRPr>
        </a:p>
      </dgm:t>
    </dgm:pt>
    <dgm:pt modelId="{28838203-109E-4D5B-84BE-B1EFB31645A2}" type="parTrans" cxnId="{5BD384F1-8929-4A84-876B-A3A7341300BF}">
      <dgm:prSet/>
      <dgm:spPr/>
      <dgm:t>
        <a:bodyPr/>
        <a:lstStyle/>
        <a:p>
          <a:endParaRPr lang="es-ES">
            <a:solidFill>
              <a:schemeClr val="tx1"/>
            </a:solidFill>
          </a:endParaRPr>
        </a:p>
      </dgm:t>
    </dgm:pt>
    <dgm:pt modelId="{A1ECEF04-858E-4FF7-87FB-75A27083213F}" type="sibTrans" cxnId="{5BD384F1-8929-4A84-876B-A3A7341300BF}">
      <dgm:prSet/>
      <dgm:spPr/>
      <dgm:t>
        <a:bodyPr/>
        <a:lstStyle/>
        <a:p>
          <a:endParaRPr lang="es-ES">
            <a:solidFill>
              <a:schemeClr val="tx1"/>
            </a:solidFill>
          </a:endParaRPr>
        </a:p>
      </dgm:t>
    </dgm:pt>
    <dgm:pt modelId="{9E8A8EDE-69D1-44CC-B169-C62E720D19E4}" type="pres">
      <dgm:prSet presAssocID="{6AA327B2-534A-415B-817F-AE0B25FEC1D4}" presName="diagram" presStyleCnt="0">
        <dgm:presLayoutVars>
          <dgm:dir/>
          <dgm:resizeHandles val="exact"/>
        </dgm:presLayoutVars>
      </dgm:prSet>
      <dgm:spPr/>
      <dgm:t>
        <a:bodyPr/>
        <a:lstStyle/>
        <a:p>
          <a:endParaRPr lang="es-ES"/>
        </a:p>
      </dgm:t>
    </dgm:pt>
    <dgm:pt modelId="{46EEFB3E-21BA-4B7F-BCA8-9BBCF85CE677}" type="pres">
      <dgm:prSet presAssocID="{BC2D10C7-EAFE-48D5-B40C-CFED8CBBBCD9}" presName="node" presStyleLbl="node1" presStyleIdx="0" presStyleCnt="6">
        <dgm:presLayoutVars>
          <dgm:bulletEnabled val="1"/>
        </dgm:presLayoutVars>
      </dgm:prSet>
      <dgm:spPr/>
      <dgm:t>
        <a:bodyPr/>
        <a:lstStyle/>
        <a:p>
          <a:endParaRPr lang="es-ES"/>
        </a:p>
      </dgm:t>
    </dgm:pt>
    <dgm:pt modelId="{B90CC007-3458-42D8-B915-FE4501BF869C}" type="pres">
      <dgm:prSet presAssocID="{07DC3023-41EE-45E9-8629-8AAC613CCC67}" presName="sibTrans" presStyleCnt="0"/>
      <dgm:spPr/>
    </dgm:pt>
    <dgm:pt modelId="{2867A206-139B-4438-9AE4-51E746A3CED8}" type="pres">
      <dgm:prSet presAssocID="{54455A03-82BC-4818-A27F-726E83097CDC}" presName="node" presStyleLbl="node1" presStyleIdx="1" presStyleCnt="6">
        <dgm:presLayoutVars>
          <dgm:bulletEnabled val="1"/>
        </dgm:presLayoutVars>
      </dgm:prSet>
      <dgm:spPr/>
      <dgm:t>
        <a:bodyPr/>
        <a:lstStyle/>
        <a:p>
          <a:endParaRPr lang="es-ES"/>
        </a:p>
      </dgm:t>
    </dgm:pt>
    <dgm:pt modelId="{EB0368C1-EDAB-4BC5-9A13-FAA6A496A995}" type="pres">
      <dgm:prSet presAssocID="{B7B2ED09-F76C-4055-89A5-58B396113E79}" presName="sibTrans" presStyleCnt="0"/>
      <dgm:spPr/>
    </dgm:pt>
    <dgm:pt modelId="{7C4A77A2-14C6-414E-88AE-FCA1107EF856}" type="pres">
      <dgm:prSet presAssocID="{B11D32D5-A5B1-4613-8185-527CCB584550}" presName="node" presStyleLbl="node1" presStyleIdx="2" presStyleCnt="6">
        <dgm:presLayoutVars>
          <dgm:bulletEnabled val="1"/>
        </dgm:presLayoutVars>
      </dgm:prSet>
      <dgm:spPr/>
      <dgm:t>
        <a:bodyPr/>
        <a:lstStyle/>
        <a:p>
          <a:endParaRPr lang="es-ES"/>
        </a:p>
      </dgm:t>
    </dgm:pt>
    <dgm:pt modelId="{45C84D88-E068-4852-9617-8739F6757528}" type="pres">
      <dgm:prSet presAssocID="{6BC68A04-D43D-4431-86DC-70763E0597D5}" presName="sibTrans" presStyleCnt="0"/>
      <dgm:spPr/>
    </dgm:pt>
    <dgm:pt modelId="{0CFCBAB2-2A4D-44A5-911C-7AD35F4F1309}" type="pres">
      <dgm:prSet presAssocID="{A3836CA7-54AE-48E3-BA00-04FCA9E47759}" presName="node" presStyleLbl="node1" presStyleIdx="3" presStyleCnt="6">
        <dgm:presLayoutVars>
          <dgm:bulletEnabled val="1"/>
        </dgm:presLayoutVars>
      </dgm:prSet>
      <dgm:spPr/>
      <dgm:t>
        <a:bodyPr/>
        <a:lstStyle/>
        <a:p>
          <a:endParaRPr lang="es-ES"/>
        </a:p>
      </dgm:t>
    </dgm:pt>
    <dgm:pt modelId="{68904DE5-D363-4E03-A132-C5ACAE31BB12}" type="pres">
      <dgm:prSet presAssocID="{7136AE5C-D085-494F-A3F1-964F709964C6}" presName="sibTrans" presStyleCnt="0"/>
      <dgm:spPr/>
    </dgm:pt>
    <dgm:pt modelId="{D1781039-F603-49BE-848A-C12F3A1D7A3F}" type="pres">
      <dgm:prSet presAssocID="{D52DD652-B84D-4687-BB60-A738CE54F489}" presName="node" presStyleLbl="node1" presStyleIdx="4" presStyleCnt="6">
        <dgm:presLayoutVars>
          <dgm:bulletEnabled val="1"/>
        </dgm:presLayoutVars>
      </dgm:prSet>
      <dgm:spPr/>
      <dgm:t>
        <a:bodyPr/>
        <a:lstStyle/>
        <a:p>
          <a:endParaRPr lang="es-ES"/>
        </a:p>
      </dgm:t>
    </dgm:pt>
    <dgm:pt modelId="{8BAE04CC-444B-49C3-94E7-C888D6A1A2E5}" type="pres">
      <dgm:prSet presAssocID="{73EC84E1-F2CA-4621-B6DD-3F4B41148A2E}" presName="sibTrans" presStyleCnt="0"/>
      <dgm:spPr/>
    </dgm:pt>
    <dgm:pt modelId="{FBBE0533-D6F4-4983-B78C-B80FAB262BEC}" type="pres">
      <dgm:prSet presAssocID="{E047C12D-AAD8-48F1-ACD8-AE1A71F65002}" presName="node" presStyleLbl="node1" presStyleIdx="5" presStyleCnt="6">
        <dgm:presLayoutVars>
          <dgm:bulletEnabled val="1"/>
        </dgm:presLayoutVars>
      </dgm:prSet>
      <dgm:spPr/>
      <dgm:t>
        <a:bodyPr/>
        <a:lstStyle/>
        <a:p>
          <a:endParaRPr lang="es-ES"/>
        </a:p>
      </dgm:t>
    </dgm:pt>
  </dgm:ptLst>
  <dgm:cxnLst>
    <dgm:cxn modelId="{8FBB2E32-0CD8-41EB-A991-6F514E69CC13}" type="presOf" srcId="{C7572F5E-37B9-465E-9C0D-069098B6987B}" destId="{FBBE0533-D6F4-4983-B78C-B80FAB262BEC}" srcOrd="0" destOrd="1" presId="urn:microsoft.com/office/officeart/2005/8/layout/default#1"/>
    <dgm:cxn modelId="{1A3025DE-6121-4517-B5B0-22BBBBFD5DC2}" type="presOf" srcId="{029E25A0-7584-49D9-AD29-5EBAC0013750}" destId="{D1781039-F603-49BE-848A-C12F3A1D7A3F}" srcOrd="0" destOrd="3" presId="urn:microsoft.com/office/officeart/2005/8/layout/default#1"/>
    <dgm:cxn modelId="{DBF1474C-5FCF-4888-9FAB-521F47B68D26}" type="presOf" srcId="{6AA327B2-534A-415B-817F-AE0B25FEC1D4}" destId="{9E8A8EDE-69D1-44CC-B169-C62E720D19E4}" srcOrd="0" destOrd="0" presId="urn:microsoft.com/office/officeart/2005/8/layout/default#1"/>
    <dgm:cxn modelId="{1DDA2D33-E115-439E-A30E-7AAAE553DAAB}" srcId="{6AA327B2-534A-415B-817F-AE0B25FEC1D4}" destId="{D52DD652-B84D-4687-BB60-A738CE54F489}" srcOrd="4" destOrd="0" parTransId="{A8202BE4-456D-46DF-865D-B998F023E32C}" sibTransId="{73EC84E1-F2CA-4621-B6DD-3F4B41148A2E}"/>
    <dgm:cxn modelId="{D0AAD66B-C169-41A6-A7A5-04958D12632F}" type="presOf" srcId="{C49D53CA-E9DF-4A80-9C62-4BDE5C5AABE1}" destId="{7C4A77A2-14C6-414E-88AE-FCA1107EF856}" srcOrd="0" destOrd="1" presId="urn:microsoft.com/office/officeart/2005/8/layout/default#1"/>
    <dgm:cxn modelId="{5BD384F1-8929-4A84-876B-A3A7341300BF}" srcId="{B11D32D5-A5B1-4613-8185-527CCB584550}" destId="{C49D53CA-E9DF-4A80-9C62-4BDE5C5AABE1}" srcOrd="0" destOrd="0" parTransId="{28838203-109E-4D5B-84BE-B1EFB31645A2}" sibTransId="{A1ECEF04-858E-4FF7-87FB-75A27083213F}"/>
    <dgm:cxn modelId="{5A5C2827-CCF7-427B-BD76-8434CEE952A6}" type="presOf" srcId="{B80ECA96-8961-43E0-853B-7C594B819796}" destId="{FBBE0533-D6F4-4983-B78C-B80FAB262BEC}" srcOrd="0" destOrd="4" presId="urn:microsoft.com/office/officeart/2005/8/layout/default#1"/>
    <dgm:cxn modelId="{39A28EFC-4ADF-4B54-96A0-9C5EB6EB10EB}" type="presOf" srcId="{4E7B044D-5E60-4053-B35E-3335FFF4301F}" destId="{D1781039-F603-49BE-848A-C12F3A1D7A3F}" srcOrd="0" destOrd="1" presId="urn:microsoft.com/office/officeart/2005/8/layout/default#1"/>
    <dgm:cxn modelId="{286C3052-21D3-437F-8626-C882B3D2B0C6}" srcId="{54455A03-82BC-4818-A27F-726E83097CDC}" destId="{C71B9B2D-E23F-4E38-A65D-DAD1B9202C68}" srcOrd="0" destOrd="0" parTransId="{5B9D19A0-0DBF-4D4C-8AB5-6DA589E2193D}" sibTransId="{B4C860B3-7DD2-43E6-A477-6D1C0602A3FA}"/>
    <dgm:cxn modelId="{FBD3A5FB-041A-439F-B8E2-6DD6D724003D}" type="presOf" srcId="{BC2D10C7-EAFE-48D5-B40C-CFED8CBBBCD9}" destId="{46EEFB3E-21BA-4B7F-BCA8-9BBCF85CE677}" srcOrd="0" destOrd="0" presId="urn:microsoft.com/office/officeart/2005/8/layout/default#1"/>
    <dgm:cxn modelId="{A3BF7004-F54F-4EB9-ACAB-3CB80F8E6BF3}" type="presOf" srcId="{100FBC05-12DF-4648-AC53-D28D842F8748}" destId="{0CFCBAB2-2A4D-44A5-911C-7AD35F4F1309}" srcOrd="0" destOrd="1" presId="urn:microsoft.com/office/officeart/2005/8/layout/default#1"/>
    <dgm:cxn modelId="{BE5CD116-0860-4899-8B16-B54973723674}" type="presOf" srcId="{C71B9B2D-E23F-4E38-A65D-DAD1B9202C68}" destId="{2867A206-139B-4438-9AE4-51E746A3CED8}" srcOrd="0" destOrd="1" presId="urn:microsoft.com/office/officeart/2005/8/layout/default#1"/>
    <dgm:cxn modelId="{51F003CD-3429-46EF-A67D-AEA6FBA54D9C}" type="presOf" srcId="{E047C12D-AAD8-48F1-ACD8-AE1A71F65002}" destId="{FBBE0533-D6F4-4983-B78C-B80FAB262BEC}" srcOrd="0" destOrd="0" presId="urn:microsoft.com/office/officeart/2005/8/layout/default#1"/>
    <dgm:cxn modelId="{A5679D86-BBDF-47D5-8675-C706ABAF0D7E}" srcId="{6AA327B2-534A-415B-817F-AE0B25FEC1D4}" destId="{BC2D10C7-EAFE-48D5-B40C-CFED8CBBBCD9}" srcOrd="0" destOrd="0" parTransId="{3B977812-8EE3-40AA-B074-948AD0FDF4B4}" sibTransId="{07DC3023-41EE-45E9-8629-8AAC613CCC67}"/>
    <dgm:cxn modelId="{E5843E36-CA0B-4C42-8D8B-44144B90FDF6}" srcId="{D52DD652-B84D-4687-BB60-A738CE54F489}" destId="{4E7B044D-5E60-4053-B35E-3335FFF4301F}" srcOrd="0" destOrd="0" parTransId="{B19B3828-FA12-4CD7-923A-6B1ABB002311}" sibTransId="{32003FE3-D135-4748-B385-6FB113F0E3C6}"/>
    <dgm:cxn modelId="{348A0DE4-BC76-4E3A-9E4E-883E98ACBABF}" type="presOf" srcId="{A1C89E8B-B992-4977-8CCF-17FCABDAACCD}" destId="{FBBE0533-D6F4-4983-B78C-B80FAB262BEC}" srcOrd="0" destOrd="3" presId="urn:microsoft.com/office/officeart/2005/8/layout/default#1"/>
    <dgm:cxn modelId="{247C5270-808B-441B-91B9-B1B8DBFF5B58}" srcId="{6AA327B2-534A-415B-817F-AE0B25FEC1D4}" destId="{A3836CA7-54AE-48E3-BA00-04FCA9E47759}" srcOrd="3" destOrd="0" parTransId="{56377365-CB2F-40FA-95C6-D70F3501758E}" sibTransId="{7136AE5C-D085-494F-A3F1-964F709964C6}"/>
    <dgm:cxn modelId="{2A9C1803-207F-44F5-92A0-FB18B78C0B5B}" type="presOf" srcId="{D52DD652-B84D-4687-BB60-A738CE54F489}" destId="{D1781039-F603-49BE-848A-C12F3A1D7A3F}" srcOrd="0" destOrd="0" presId="urn:microsoft.com/office/officeart/2005/8/layout/default#1"/>
    <dgm:cxn modelId="{317C2555-97DA-467A-9A8C-2C886884E892}" type="presOf" srcId="{F7B93FAC-1677-43B0-8069-85B0D1969693}" destId="{46EEFB3E-21BA-4B7F-BCA8-9BBCF85CE677}" srcOrd="0" destOrd="1" presId="urn:microsoft.com/office/officeart/2005/8/layout/default#1"/>
    <dgm:cxn modelId="{07581097-40AF-4DA3-93C9-78281BE337D5}" srcId="{E047C12D-AAD8-48F1-ACD8-AE1A71F65002}" destId="{C7572F5E-37B9-465E-9C0D-069098B6987B}" srcOrd="0" destOrd="0" parTransId="{40053058-007E-4A57-A229-8E12C7E133C3}" sibTransId="{0829487E-9C4A-4CEB-9A75-5057B3E08CEC}"/>
    <dgm:cxn modelId="{C6F8CA1C-27C0-40BB-A42F-691433D0E7E3}" srcId="{6AA327B2-534A-415B-817F-AE0B25FEC1D4}" destId="{54455A03-82BC-4818-A27F-726E83097CDC}" srcOrd="1" destOrd="0" parTransId="{3AB0E95D-320E-4EEE-ABF2-96BA523CCB73}" sibTransId="{B7B2ED09-F76C-4055-89A5-58B396113E79}"/>
    <dgm:cxn modelId="{9F8CD9DC-42F1-4029-9B99-AA0952F02ED6}" type="presOf" srcId="{AC15DEAB-44C2-4674-B79E-5E8D48C38D03}" destId="{FBBE0533-D6F4-4983-B78C-B80FAB262BEC}" srcOrd="0" destOrd="2" presId="urn:microsoft.com/office/officeart/2005/8/layout/default#1"/>
    <dgm:cxn modelId="{D0BD9DE2-470A-4F56-8EB2-5F3E6FA12D5B}" srcId="{E047C12D-AAD8-48F1-ACD8-AE1A71F65002}" destId="{B80ECA96-8961-43E0-853B-7C594B819796}" srcOrd="3" destOrd="0" parTransId="{E44B4E7B-E7C7-4464-9158-BF4850D99280}" sibTransId="{BE85C1AE-E7E4-4F09-8A84-B98DB012D515}"/>
    <dgm:cxn modelId="{DD7CD1F8-DFB9-4AAA-9FB7-78A0723BAC09}" srcId="{6AA327B2-534A-415B-817F-AE0B25FEC1D4}" destId="{B11D32D5-A5B1-4613-8185-527CCB584550}" srcOrd="2" destOrd="0" parTransId="{5B0A8B22-B793-4C1B-9194-F9CF11B70DAD}" sibTransId="{6BC68A04-D43D-4431-86DC-70763E0597D5}"/>
    <dgm:cxn modelId="{B56DDFE6-7383-40CD-B3BF-391606EB14FB}" srcId="{E047C12D-AAD8-48F1-ACD8-AE1A71F65002}" destId="{AC15DEAB-44C2-4674-B79E-5E8D48C38D03}" srcOrd="1" destOrd="0" parTransId="{6596971B-5FD7-4AB3-9C52-54056DFC6BE5}" sibTransId="{4E8A3A98-C5D0-4D28-90E7-95C61C4E0ACB}"/>
    <dgm:cxn modelId="{31B7B405-AB01-493D-ADEE-F94C3480245F}" type="presOf" srcId="{A3836CA7-54AE-48E3-BA00-04FCA9E47759}" destId="{0CFCBAB2-2A4D-44A5-911C-7AD35F4F1309}" srcOrd="0" destOrd="0" presId="urn:microsoft.com/office/officeart/2005/8/layout/default#1"/>
    <dgm:cxn modelId="{E1B56801-7BD9-42A4-971F-2FB59BF8396E}" srcId="{A3836CA7-54AE-48E3-BA00-04FCA9E47759}" destId="{100FBC05-12DF-4648-AC53-D28D842F8748}" srcOrd="0" destOrd="0" parTransId="{67BAC1F7-4565-44B2-8D03-45EB97E20A05}" sibTransId="{6BC23EB3-80DC-4502-855F-0CCF0BEFF945}"/>
    <dgm:cxn modelId="{68DADDFE-B6DC-47BA-AB51-6716A3AA447C}" srcId="{D52DD652-B84D-4687-BB60-A738CE54F489}" destId="{029E25A0-7584-49D9-AD29-5EBAC0013750}" srcOrd="2" destOrd="0" parTransId="{4185676B-41EC-48E5-809D-A7437066B24C}" sibTransId="{59D0A9CB-5263-4CD5-9A90-4D2647A86E7D}"/>
    <dgm:cxn modelId="{61E8B27E-2A80-406A-BA67-A9310FB8D517}" type="presOf" srcId="{54455A03-82BC-4818-A27F-726E83097CDC}" destId="{2867A206-139B-4438-9AE4-51E746A3CED8}" srcOrd="0" destOrd="0" presId="urn:microsoft.com/office/officeart/2005/8/layout/default#1"/>
    <dgm:cxn modelId="{A1A1EE46-B88A-480A-BD70-D4AD497A1149}" srcId="{E047C12D-AAD8-48F1-ACD8-AE1A71F65002}" destId="{A1C89E8B-B992-4977-8CCF-17FCABDAACCD}" srcOrd="2" destOrd="0" parTransId="{916F665E-0800-4246-A54F-459C053E7916}" sibTransId="{6F8346E0-59C8-4BA7-834D-E2E163CE922D}"/>
    <dgm:cxn modelId="{65394281-0B18-4352-A0AC-DAA280AABAAC}" srcId="{D52DD652-B84D-4687-BB60-A738CE54F489}" destId="{297875DC-325A-406C-A29E-F81833875EA0}" srcOrd="1" destOrd="0" parTransId="{510AE33A-5642-4996-88B4-F8D69D735CF6}" sibTransId="{8E4FC1B2-774E-42C9-BF24-B63D66521157}"/>
    <dgm:cxn modelId="{3839BC5A-E0E8-4DB7-B221-4EBB44BD9BC2}" srcId="{BC2D10C7-EAFE-48D5-B40C-CFED8CBBBCD9}" destId="{F7B93FAC-1677-43B0-8069-85B0D1969693}" srcOrd="0" destOrd="0" parTransId="{90886316-D964-4CC1-BBD5-AEB2A5333405}" sibTransId="{B8024A24-DB16-4BDC-BDAB-A7ABB89DAAB9}"/>
    <dgm:cxn modelId="{1BEC0A97-F1E2-4597-B8B4-930A89762B90}" srcId="{6AA327B2-534A-415B-817F-AE0B25FEC1D4}" destId="{E047C12D-AAD8-48F1-ACD8-AE1A71F65002}" srcOrd="5" destOrd="0" parTransId="{F9CA8540-5D05-4933-BDAD-0777A66B755B}" sibTransId="{F2727BE9-7E44-41B1-868B-70003E1793D6}"/>
    <dgm:cxn modelId="{74FB2C96-34CA-43E2-86E9-ACC23E77A3BB}" type="presOf" srcId="{297875DC-325A-406C-A29E-F81833875EA0}" destId="{D1781039-F603-49BE-848A-C12F3A1D7A3F}" srcOrd="0" destOrd="2" presId="urn:microsoft.com/office/officeart/2005/8/layout/default#1"/>
    <dgm:cxn modelId="{59DCEDFF-3233-4E8D-B2B4-8760D24875FF}" type="presOf" srcId="{B11D32D5-A5B1-4613-8185-527CCB584550}" destId="{7C4A77A2-14C6-414E-88AE-FCA1107EF856}" srcOrd="0" destOrd="0" presId="urn:microsoft.com/office/officeart/2005/8/layout/default#1"/>
    <dgm:cxn modelId="{04F62CF2-1F7F-488E-A3BB-48C656F107C0}" type="presParOf" srcId="{9E8A8EDE-69D1-44CC-B169-C62E720D19E4}" destId="{46EEFB3E-21BA-4B7F-BCA8-9BBCF85CE677}" srcOrd="0" destOrd="0" presId="urn:microsoft.com/office/officeart/2005/8/layout/default#1"/>
    <dgm:cxn modelId="{887CBF7D-AE47-4B6D-8B02-26FA831090D2}" type="presParOf" srcId="{9E8A8EDE-69D1-44CC-B169-C62E720D19E4}" destId="{B90CC007-3458-42D8-B915-FE4501BF869C}" srcOrd="1" destOrd="0" presId="urn:microsoft.com/office/officeart/2005/8/layout/default#1"/>
    <dgm:cxn modelId="{9B377988-A1E7-4243-A388-06C13FC58E8B}" type="presParOf" srcId="{9E8A8EDE-69D1-44CC-B169-C62E720D19E4}" destId="{2867A206-139B-4438-9AE4-51E746A3CED8}" srcOrd="2" destOrd="0" presId="urn:microsoft.com/office/officeart/2005/8/layout/default#1"/>
    <dgm:cxn modelId="{5F7072ED-EC7F-4BA1-8128-2869DC862A3C}" type="presParOf" srcId="{9E8A8EDE-69D1-44CC-B169-C62E720D19E4}" destId="{EB0368C1-EDAB-4BC5-9A13-FAA6A496A995}" srcOrd="3" destOrd="0" presId="urn:microsoft.com/office/officeart/2005/8/layout/default#1"/>
    <dgm:cxn modelId="{341A1241-3333-44C3-A373-F0C90482725F}" type="presParOf" srcId="{9E8A8EDE-69D1-44CC-B169-C62E720D19E4}" destId="{7C4A77A2-14C6-414E-88AE-FCA1107EF856}" srcOrd="4" destOrd="0" presId="urn:microsoft.com/office/officeart/2005/8/layout/default#1"/>
    <dgm:cxn modelId="{11A8A1AA-568F-4D20-8E89-6F9D4803D733}" type="presParOf" srcId="{9E8A8EDE-69D1-44CC-B169-C62E720D19E4}" destId="{45C84D88-E068-4852-9617-8739F6757528}" srcOrd="5" destOrd="0" presId="urn:microsoft.com/office/officeart/2005/8/layout/default#1"/>
    <dgm:cxn modelId="{3A16B9C5-D11E-47F8-ADB0-81EE3FD5CE18}" type="presParOf" srcId="{9E8A8EDE-69D1-44CC-B169-C62E720D19E4}" destId="{0CFCBAB2-2A4D-44A5-911C-7AD35F4F1309}" srcOrd="6" destOrd="0" presId="urn:microsoft.com/office/officeart/2005/8/layout/default#1"/>
    <dgm:cxn modelId="{54B71BA1-162B-497F-B84A-BB10CFE3AEC4}" type="presParOf" srcId="{9E8A8EDE-69D1-44CC-B169-C62E720D19E4}" destId="{68904DE5-D363-4E03-A132-C5ACAE31BB12}" srcOrd="7" destOrd="0" presId="urn:microsoft.com/office/officeart/2005/8/layout/default#1"/>
    <dgm:cxn modelId="{A48E4032-4F8D-4ED5-A82E-D571E9AA3BFF}" type="presParOf" srcId="{9E8A8EDE-69D1-44CC-B169-C62E720D19E4}" destId="{D1781039-F603-49BE-848A-C12F3A1D7A3F}" srcOrd="8" destOrd="0" presId="urn:microsoft.com/office/officeart/2005/8/layout/default#1"/>
    <dgm:cxn modelId="{AE2F023E-DA6C-4648-917C-3C2CA0F9D875}" type="presParOf" srcId="{9E8A8EDE-69D1-44CC-B169-C62E720D19E4}" destId="{8BAE04CC-444B-49C3-94E7-C888D6A1A2E5}" srcOrd="9" destOrd="0" presId="urn:microsoft.com/office/officeart/2005/8/layout/default#1"/>
    <dgm:cxn modelId="{2D5EE16A-7E1E-48F4-AB79-E99B3CB1594A}" type="presParOf" srcId="{9E8A8EDE-69D1-44CC-B169-C62E720D19E4}" destId="{FBBE0533-D6F4-4983-B78C-B80FAB262BEC}" srcOrd="10" destOrd="0" presId="urn:microsoft.com/office/officeart/2005/8/layout/default#1"/>
  </dgm:cxnLst>
  <dgm:bg/>
  <dgm:whole/>
  <dgm:extLst>
    <a:ext uri="http://schemas.microsoft.com/office/drawing/2008/diagram"/>
  </dgm:extLst>
</dgm:dataModel>
</file>

<file path=ppt/diagrams/data2.xml><?xml version="1.0" encoding="utf-8"?>
<dgm:dataModel xmlns:dgm="http://schemas.openxmlformats.org/drawingml/2006/diagram" xmlns:a="http://schemas.openxmlformats.org/drawingml/2006/main">
  <dgm:ptLst>
    <dgm:pt modelId="{38DA8B6C-3716-4CF4-8353-E6CF9A2642EF}" type="doc">
      <dgm:prSet loTypeId="urn:microsoft.com/office/officeart/2005/8/layout/hList1" loCatId="list" qsTypeId="urn:microsoft.com/office/officeart/2005/8/quickstyle/simple1#2" qsCatId="simple" csTypeId="urn:microsoft.com/office/officeart/2005/8/colors/accent4_5" csCatId="accent4" phldr="1"/>
      <dgm:spPr/>
      <dgm:t>
        <a:bodyPr/>
        <a:lstStyle/>
        <a:p>
          <a:endParaRPr lang="es-ES"/>
        </a:p>
      </dgm:t>
    </dgm:pt>
    <dgm:pt modelId="{E6A5215D-E7F6-4F8B-B117-33C26C07F50E}">
      <dgm:prSet phldrT="[Texto]"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workers</a:t>
          </a:r>
          <a:endParaRPr lang="en-US" sz="1400" b="1" noProof="0" dirty="0">
            <a:solidFill>
              <a:schemeClr val="bg1"/>
            </a:solidFill>
          </a:endParaRPr>
        </a:p>
      </dgm:t>
    </dgm:pt>
    <dgm:pt modelId="{DE530008-EB39-49AB-8D59-AA24F1F3D305}" type="parTrans" cxnId="{5043AAB0-1B31-4346-8156-F442B3D28FF0}">
      <dgm:prSet/>
      <dgm:spPr/>
      <dgm:t>
        <a:bodyPr/>
        <a:lstStyle/>
        <a:p>
          <a:endParaRPr lang="es-ES">
            <a:solidFill>
              <a:schemeClr val="tx1"/>
            </a:solidFill>
          </a:endParaRPr>
        </a:p>
      </dgm:t>
    </dgm:pt>
    <dgm:pt modelId="{866C18C5-B38D-4D9F-A8AA-A490833ABC9D}" type="sibTrans" cxnId="{5043AAB0-1B31-4346-8156-F442B3D28FF0}">
      <dgm:prSet/>
      <dgm:spPr/>
      <dgm:t>
        <a:bodyPr/>
        <a:lstStyle/>
        <a:p>
          <a:endParaRPr lang="es-ES">
            <a:solidFill>
              <a:schemeClr val="tx1"/>
            </a:solidFill>
          </a:endParaRPr>
        </a:p>
      </dgm:t>
    </dgm:pt>
    <dgm:pt modelId="{33DBB261-D7E2-4581-838A-4265CB91712E}">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roportion of unemployed not collecting benefits at the time of recruitment</a:t>
          </a:r>
          <a:endParaRPr lang="en-US" sz="1100" noProof="0" dirty="0">
            <a:solidFill>
              <a:schemeClr val="tx1"/>
            </a:solidFill>
          </a:endParaRPr>
        </a:p>
      </dgm:t>
    </dgm:pt>
    <dgm:pt modelId="{252B23F2-711D-4057-8E01-224F766BEB0D}" type="parTrans" cxnId="{7AE1BF4B-5291-47AA-AA66-C8D1D0350CF2}">
      <dgm:prSet/>
      <dgm:spPr/>
      <dgm:t>
        <a:bodyPr/>
        <a:lstStyle/>
        <a:p>
          <a:endParaRPr lang="es-ES">
            <a:solidFill>
              <a:schemeClr val="tx1"/>
            </a:solidFill>
          </a:endParaRPr>
        </a:p>
      </dgm:t>
    </dgm:pt>
    <dgm:pt modelId="{21D6740E-B8C1-481B-8E1B-07AA37363D54}" type="sibTrans" cxnId="{7AE1BF4B-5291-47AA-AA66-C8D1D0350CF2}">
      <dgm:prSet/>
      <dgm:spPr/>
      <dgm:t>
        <a:bodyPr/>
        <a:lstStyle/>
        <a:p>
          <a:endParaRPr lang="es-ES">
            <a:solidFill>
              <a:schemeClr val="tx1"/>
            </a:solidFill>
          </a:endParaRPr>
        </a:p>
      </dgm:t>
    </dgm:pt>
    <dgm:pt modelId="{8CFC4BE0-F118-4B13-A2E8-69C7E13A3F05}">
      <dgm:prSet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debt</a:t>
          </a:r>
          <a:endParaRPr lang="en-US" sz="1400" b="1" noProof="0" dirty="0">
            <a:solidFill>
              <a:schemeClr val="bg1"/>
            </a:solidFill>
          </a:endParaRPr>
        </a:p>
      </dgm:t>
    </dgm:pt>
    <dgm:pt modelId="{987F90FE-B73F-4465-95BF-74E3427CB26B}" type="parTrans" cxnId="{4DF44993-A79F-46C5-919F-E781BCF92B9F}">
      <dgm:prSet/>
      <dgm:spPr/>
      <dgm:t>
        <a:bodyPr/>
        <a:lstStyle/>
        <a:p>
          <a:endParaRPr lang="es-ES">
            <a:solidFill>
              <a:schemeClr val="tx1"/>
            </a:solidFill>
          </a:endParaRPr>
        </a:p>
      </dgm:t>
    </dgm:pt>
    <dgm:pt modelId="{840AC673-9878-4F5C-9BED-97E5F0C8A7F2}" type="sibTrans" cxnId="{4DF44993-A79F-46C5-919F-E781BCF92B9F}">
      <dgm:prSet/>
      <dgm:spPr/>
      <dgm:t>
        <a:bodyPr/>
        <a:lstStyle/>
        <a:p>
          <a:endParaRPr lang="es-ES">
            <a:solidFill>
              <a:schemeClr val="tx1"/>
            </a:solidFill>
          </a:endParaRPr>
        </a:p>
      </dgm:t>
    </dgm:pt>
    <dgm:pt modelId="{A200D664-5522-4EC2-98A6-6F8FC505C936}">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Amount generated, pending and paid</a:t>
          </a:r>
          <a:endParaRPr lang="en-US" sz="1100" noProof="0" dirty="0">
            <a:solidFill>
              <a:schemeClr val="tx1"/>
            </a:solidFill>
          </a:endParaRPr>
        </a:p>
      </dgm:t>
    </dgm:pt>
    <dgm:pt modelId="{921B6058-5D37-4E70-BAA9-424E6C70B89E}" type="parTrans" cxnId="{5FED60D8-F028-48F1-AB24-3C532CD03221}">
      <dgm:prSet/>
      <dgm:spPr/>
      <dgm:t>
        <a:bodyPr/>
        <a:lstStyle/>
        <a:p>
          <a:endParaRPr lang="es-ES">
            <a:solidFill>
              <a:schemeClr val="tx1"/>
            </a:solidFill>
          </a:endParaRPr>
        </a:p>
      </dgm:t>
    </dgm:pt>
    <dgm:pt modelId="{6F1EF2FB-D090-4F2C-8423-E69EA6E2C5EB}" type="sibTrans" cxnId="{5FED60D8-F028-48F1-AB24-3C532CD03221}">
      <dgm:prSet/>
      <dgm:spPr/>
      <dgm:t>
        <a:bodyPr/>
        <a:lstStyle/>
        <a:p>
          <a:endParaRPr lang="es-ES">
            <a:solidFill>
              <a:schemeClr val="tx1"/>
            </a:solidFill>
          </a:endParaRPr>
        </a:p>
      </dgm:t>
    </dgm:pt>
    <dgm:pt modelId="{8D2B4647-2CB2-466D-A280-B8A36D017FCB}">
      <dgm:prSet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companies</a:t>
          </a:r>
          <a:endParaRPr lang="en-US" sz="1400" b="1" noProof="0" dirty="0">
            <a:solidFill>
              <a:schemeClr val="bg1"/>
            </a:solidFill>
          </a:endParaRPr>
        </a:p>
      </dgm:t>
    </dgm:pt>
    <dgm:pt modelId="{E45D9040-0992-4026-B11D-3782A5B46759}" type="parTrans" cxnId="{B37993FD-BC15-4C71-89A3-67E9AB12CEA5}">
      <dgm:prSet/>
      <dgm:spPr/>
      <dgm:t>
        <a:bodyPr/>
        <a:lstStyle/>
        <a:p>
          <a:endParaRPr lang="es-ES"/>
        </a:p>
      </dgm:t>
    </dgm:pt>
    <dgm:pt modelId="{D03AB661-59A2-414A-A919-47ABD9E484EE}" type="sibTrans" cxnId="{B37993FD-BC15-4C71-89A3-67E9AB12CEA5}">
      <dgm:prSet/>
      <dgm:spPr/>
      <dgm:t>
        <a:bodyPr/>
        <a:lstStyle/>
        <a:p>
          <a:endParaRPr lang="es-ES"/>
        </a:p>
      </dgm:t>
    </dgm:pt>
    <dgm:pt modelId="{4CD29B73-727E-4519-900B-2ED3F5114699}">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solidFill>
                <a:schemeClr val="tx1"/>
              </a:solidFill>
            </a:rPr>
            <a:t>Recurrent economic activity in this type </a:t>
          </a:r>
          <a:r>
            <a:rPr lang="en-US" sz="1100" noProof="0" smtClean="0">
              <a:solidFill>
                <a:schemeClr val="tx1"/>
              </a:solidFill>
            </a:rPr>
            <a:t>of fraud
Anomalous distribution of workers by sex compared to economic sector
Percentage of part-time workers
Age of the company</a:t>
          </a:r>
          <a:endParaRPr lang="en-US" sz="1100" noProof="0" dirty="0">
            <a:solidFill>
              <a:schemeClr val="tx1"/>
            </a:solidFill>
          </a:endParaRPr>
        </a:p>
      </dgm:t>
    </dgm:pt>
    <dgm:pt modelId="{10480AB6-588E-40A8-A318-6323796003F6}" type="parTrans" cxnId="{9A629A85-ED97-4F23-980C-F5A85DDF8986}">
      <dgm:prSet/>
      <dgm:spPr/>
      <dgm:t>
        <a:bodyPr/>
        <a:lstStyle/>
        <a:p>
          <a:endParaRPr lang="es-ES"/>
        </a:p>
      </dgm:t>
    </dgm:pt>
    <dgm:pt modelId="{822D08AB-7443-4CA9-BA20-A8BBFADBCBE8}" type="sibTrans" cxnId="{9A629A85-ED97-4F23-980C-F5A85DDF8986}">
      <dgm:prSet/>
      <dgm:spPr/>
      <dgm:t>
        <a:bodyPr/>
        <a:lstStyle/>
        <a:p>
          <a:endParaRPr lang="es-ES"/>
        </a:p>
      </dgm:t>
    </dgm:pt>
    <dgm:pt modelId="{3C4F776C-5EB6-4C34-9CF5-41A7C80E54B4}">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Existence of workers at risk of social exclusion</a:t>
          </a:r>
          <a:endParaRPr lang="en-US" sz="1100" noProof="0" dirty="0">
            <a:solidFill>
              <a:schemeClr val="tx1"/>
            </a:solidFill>
          </a:endParaRPr>
        </a:p>
      </dgm:t>
    </dgm:pt>
    <dgm:pt modelId="{04A85702-3EE2-4550-875F-122ADCCA7BCB}" type="parTrans" cxnId="{9719F203-3DAA-49E8-9CB2-44652D7BCD08}">
      <dgm:prSet/>
      <dgm:spPr/>
      <dgm:t>
        <a:bodyPr/>
        <a:lstStyle/>
        <a:p>
          <a:endParaRPr lang="es-ES"/>
        </a:p>
      </dgm:t>
    </dgm:pt>
    <dgm:pt modelId="{185CB6EC-B2AA-4E48-B72E-238FD45BF6F6}" type="sibTrans" cxnId="{9719F203-3DAA-49E8-9CB2-44652D7BCD08}">
      <dgm:prSet/>
      <dgm:spPr/>
      <dgm:t>
        <a:bodyPr/>
        <a:lstStyle/>
        <a:p>
          <a:endParaRPr lang="es-ES"/>
        </a:p>
      </dgm:t>
    </dgm:pt>
    <dgm:pt modelId="{3DA6D216-58AC-4DFF-8389-7F27AA14118E}">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roportion of non-EU workers in the company</a:t>
          </a:r>
          <a:endParaRPr lang="en-US" sz="1100" noProof="0" dirty="0">
            <a:solidFill>
              <a:schemeClr val="tx1"/>
            </a:solidFill>
          </a:endParaRPr>
        </a:p>
      </dgm:t>
    </dgm:pt>
    <dgm:pt modelId="{25390006-272F-4043-A006-2C8A02A1A80D}" type="parTrans" cxnId="{E36AD1ED-4FC9-4AB1-9449-14CAE8D0FEBB}">
      <dgm:prSet/>
      <dgm:spPr/>
      <dgm:t>
        <a:bodyPr/>
        <a:lstStyle/>
        <a:p>
          <a:endParaRPr lang="es-ES"/>
        </a:p>
      </dgm:t>
    </dgm:pt>
    <dgm:pt modelId="{7887429F-A008-4B99-8762-DF0B3369F0AA}" type="sibTrans" cxnId="{E36AD1ED-4FC9-4AB1-9449-14CAE8D0FEBB}">
      <dgm:prSet/>
      <dgm:spPr/>
      <dgm:t>
        <a:bodyPr/>
        <a:lstStyle/>
        <a:p>
          <a:endParaRPr lang="es-ES"/>
        </a:p>
      </dgm:t>
    </dgm:pt>
    <dgm:pt modelId="{B1526D04-0494-43E3-B629-1A68077712CB}">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Recruitment of women who are in an advanced state of pregnancy</a:t>
          </a:r>
          <a:endParaRPr lang="en-US" sz="1100" noProof="0" dirty="0">
            <a:solidFill>
              <a:schemeClr val="tx1"/>
            </a:solidFill>
          </a:endParaRPr>
        </a:p>
      </dgm:t>
    </dgm:pt>
    <dgm:pt modelId="{13EBF493-AF09-478C-B44A-BE14C9ED77EB}" type="parTrans" cxnId="{97617A60-1306-4482-BEF8-62B2CB35D406}">
      <dgm:prSet/>
      <dgm:spPr/>
      <dgm:t>
        <a:bodyPr/>
        <a:lstStyle/>
        <a:p>
          <a:endParaRPr lang="es-ES"/>
        </a:p>
      </dgm:t>
    </dgm:pt>
    <dgm:pt modelId="{87CF612E-B71A-4E90-A19C-239192480558}" type="sibTrans" cxnId="{97617A60-1306-4482-BEF8-62B2CB35D406}">
      <dgm:prSet/>
      <dgm:spPr/>
      <dgm:t>
        <a:bodyPr/>
        <a:lstStyle/>
        <a:p>
          <a:endParaRPr lang="es-ES"/>
        </a:p>
      </dgm:t>
    </dgm:pt>
    <dgm:pt modelId="{A5575B29-5F9B-47A0-8005-8DC103B75C16}">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Hiring workers close to retirement age</a:t>
          </a:r>
          <a:endParaRPr lang="en-US" sz="1100" noProof="0" dirty="0">
            <a:solidFill>
              <a:schemeClr val="tx1"/>
            </a:solidFill>
          </a:endParaRPr>
        </a:p>
      </dgm:t>
    </dgm:pt>
    <dgm:pt modelId="{8BEC962A-9536-4DCB-8550-6F74EC157DA4}" type="parTrans" cxnId="{4EBDCCA3-2860-42D1-BC5A-6A504265E7E8}">
      <dgm:prSet/>
      <dgm:spPr/>
      <dgm:t>
        <a:bodyPr/>
        <a:lstStyle/>
        <a:p>
          <a:endParaRPr lang="es-ES"/>
        </a:p>
      </dgm:t>
    </dgm:pt>
    <dgm:pt modelId="{0585A9CF-3D21-41E9-B3EA-280AABEC43C5}" type="sibTrans" cxnId="{4EBDCCA3-2860-42D1-BC5A-6A504265E7E8}">
      <dgm:prSet/>
      <dgm:spPr/>
      <dgm:t>
        <a:bodyPr/>
        <a:lstStyle/>
        <a:p>
          <a:endParaRPr lang="es-ES"/>
        </a:p>
      </dgm:t>
    </dgm:pt>
    <dgm:pt modelId="{798BE536-EE9F-45F9-980D-E2F4E1F87B7B}">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roportion of workers on staff who have worked in different sectors</a:t>
          </a:r>
          <a:endParaRPr lang="en-US" sz="1100" noProof="0" dirty="0">
            <a:solidFill>
              <a:schemeClr val="tx1"/>
            </a:solidFill>
          </a:endParaRPr>
        </a:p>
      </dgm:t>
    </dgm:pt>
    <dgm:pt modelId="{321D74BC-A2FF-45F4-BAC3-26A2B1CB4FC3}" type="parTrans" cxnId="{388990D3-FF39-4D5F-94C1-C5915DE06030}">
      <dgm:prSet/>
      <dgm:spPr/>
      <dgm:t>
        <a:bodyPr/>
        <a:lstStyle/>
        <a:p>
          <a:endParaRPr lang="es-ES"/>
        </a:p>
      </dgm:t>
    </dgm:pt>
    <dgm:pt modelId="{BBFEE913-AF27-4D6A-8925-56C43C672CE0}" type="sibTrans" cxnId="{388990D3-FF39-4D5F-94C1-C5915DE06030}">
      <dgm:prSet/>
      <dgm:spPr/>
      <dgm:t>
        <a:bodyPr/>
        <a:lstStyle/>
        <a:p>
          <a:endParaRPr lang="es-ES"/>
        </a:p>
      </dgm:t>
    </dgm:pt>
    <dgm:pt modelId="{54A4D2D1-BB5B-4B7C-9FD5-41570A6E92EB}">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Existence of massive leaks</a:t>
          </a:r>
          <a:endParaRPr lang="en-US" sz="1100" noProof="0" dirty="0">
            <a:solidFill>
              <a:schemeClr val="tx1"/>
            </a:solidFill>
          </a:endParaRPr>
        </a:p>
      </dgm:t>
    </dgm:pt>
    <dgm:pt modelId="{8B04F572-4304-49ED-B68A-66D5068275BE}" type="parTrans" cxnId="{F4EEA7A2-C67E-48E7-8061-932CB5A64521}">
      <dgm:prSet/>
      <dgm:spPr/>
      <dgm:t>
        <a:bodyPr/>
        <a:lstStyle/>
        <a:p>
          <a:endParaRPr lang="es-ES"/>
        </a:p>
      </dgm:t>
    </dgm:pt>
    <dgm:pt modelId="{4BF911FC-1267-490E-B395-09E68DA643E0}" type="sibTrans" cxnId="{F4EEA7A2-C67E-48E7-8061-932CB5A64521}">
      <dgm:prSet/>
      <dgm:spPr/>
      <dgm:t>
        <a:bodyPr/>
        <a:lstStyle/>
        <a:p>
          <a:endParaRPr lang="es-ES"/>
        </a:p>
      </dgm:t>
    </dgm:pt>
    <dgm:pt modelId="{85B661C1-F323-4114-873F-9429EF6107AA}">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Repeated request of working life report</a:t>
          </a:r>
          <a:endParaRPr lang="en-US" sz="1100" noProof="0" dirty="0">
            <a:solidFill>
              <a:schemeClr val="tx1"/>
            </a:solidFill>
          </a:endParaRPr>
        </a:p>
      </dgm:t>
    </dgm:pt>
    <dgm:pt modelId="{46D1E3B8-1E2E-4A45-94DE-1C5FBDA2EAE5}" type="parTrans" cxnId="{51CECAAC-CDAC-41BA-B7F3-84B09D76228F}">
      <dgm:prSet/>
      <dgm:spPr/>
      <dgm:t>
        <a:bodyPr/>
        <a:lstStyle/>
        <a:p>
          <a:endParaRPr lang="es-ES"/>
        </a:p>
      </dgm:t>
    </dgm:pt>
    <dgm:pt modelId="{BA9FD36C-2215-42DB-B5F4-5AEAA113982F}" type="sibTrans" cxnId="{51CECAAC-CDAC-41BA-B7F3-84B09D76228F}">
      <dgm:prSet/>
      <dgm:spPr/>
      <dgm:t>
        <a:bodyPr/>
        <a:lstStyle/>
        <a:p>
          <a:endParaRPr lang="es-ES"/>
        </a:p>
      </dgm:t>
    </dgm:pt>
    <dgm:pt modelId="{4B0B9CBD-B8F4-4782-B774-CE355F09D35C}">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rovince of different worker to CCC</a:t>
          </a:r>
          <a:endParaRPr lang="en-US" sz="1100" noProof="0" dirty="0">
            <a:solidFill>
              <a:schemeClr val="tx1"/>
            </a:solidFill>
          </a:endParaRPr>
        </a:p>
      </dgm:t>
    </dgm:pt>
    <dgm:pt modelId="{FB817375-5B0F-4AC3-BA34-8E9A5122267A}" type="parTrans" cxnId="{2DB8375A-402C-40D4-85EA-E680E7C42A3C}">
      <dgm:prSet/>
      <dgm:spPr/>
      <dgm:t>
        <a:bodyPr/>
        <a:lstStyle/>
        <a:p>
          <a:endParaRPr lang="es-ES"/>
        </a:p>
      </dgm:t>
    </dgm:pt>
    <dgm:pt modelId="{422E9D38-F46E-4450-ACC0-BA76D927EF34}" type="sibTrans" cxnId="{2DB8375A-402C-40D4-85EA-E680E7C42A3C}">
      <dgm:prSet/>
      <dgm:spPr/>
      <dgm:t>
        <a:bodyPr/>
        <a:lstStyle/>
        <a:p>
          <a:endParaRPr lang="es-ES"/>
        </a:p>
      </dgm:t>
    </dgm:pt>
    <dgm:pt modelId="{41DA9451-8BF8-4ABB-B218-48A3731904EE}">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ercentage of the amounts</a:t>
          </a:r>
          <a:endParaRPr lang="en-US" sz="1100" noProof="0" dirty="0">
            <a:solidFill>
              <a:schemeClr val="tx1"/>
            </a:solidFill>
          </a:endParaRPr>
        </a:p>
      </dgm:t>
    </dgm:pt>
    <dgm:pt modelId="{BFC9CABB-7121-4FEF-B060-B1C0C97F12B7}" type="parTrans" cxnId="{30EE3438-3AC8-4A90-93BD-C2F6778A0051}">
      <dgm:prSet/>
      <dgm:spPr/>
      <dgm:t>
        <a:bodyPr/>
        <a:lstStyle/>
        <a:p>
          <a:endParaRPr lang="es-ES"/>
        </a:p>
      </dgm:t>
    </dgm:pt>
    <dgm:pt modelId="{EA75571D-D0E5-43B6-B3C6-E4866902449A}" type="sibTrans" cxnId="{30EE3438-3AC8-4A90-93BD-C2F6778A0051}">
      <dgm:prSet/>
      <dgm:spPr/>
      <dgm:t>
        <a:bodyPr/>
        <a:lstStyle/>
        <a:p>
          <a:endParaRPr lang="es-ES"/>
        </a:p>
      </dgm:t>
    </dgm:pt>
    <dgm:pt modelId="{0EE38A9F-1328-4E0F-B63D-44C5705C12D4}">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Time evolution generated and paid amounts</a:t>
          </a:r>
          <a:endParaRPr lang="en-US" sz="1100" noProof="0" dirty="0">
            <a:solidFill>
              <a:schemeClr val="tx1"/>
            </a:solidFill>
          </a:endParaRPr>
        </a:p>
      </dgm:t>
    </dgm:pt>
    <dgm:pt modelId="{4F74A48C-197F-4B45-AC3D-014E53D52DF7}" type="parTrans" cxnId="{57324088-B9B2-4017-9550-51435600A665}">
      <dgm:prSet/>
      <dgm:spPr/>
      <dgm:t>
        <a:bodyPr/>
        <a:lstStyle/>
        <a:p>
          <a:endParaRPr lang="es-ES"/>
        </a:p>
      </dgm:t>
    </dgm:pt>
    <dgm:pt modelId="{094F111F-DA60-4C27-88ED-78586E183CF1}" type="sibTrans" cxnId="{57324088-B9B2-4017-9550-51435600A665}">
      <dgm:prSet/>
      <dgm:spPr/>
      <dgm:t>
        <a:bodyPr/>
        <a:lstStyle/>
        <a:p>
          <a:endParaRPr lang="es-ES"/>
        </a:p>
      </dgm:t>
    </dgm:pt>
    <dgm:pt modelId="{A9D5D0C5-C400-4803-9D30-6840F895D6A3}" type="pres">
      <dgm:prSet presAssocID="{38DA8B6C-3716-4CF4-8353-E6CF9A2642EF}" presName="Name0" presStyleCnt="0">
        <dgm:presLayoutVars>
          <dgm:dir/>
          <dgm:animLvl val="lvl"/>
          <dgm:resizeHandles val="exact"/>
        </dgm:presLayoutVars>
      </dgm:prSet>
      <dgm:spPr/>
      <dgm:t>
        <a:bodyPr/>
        <a:lstStyle/>
        <a:p>
          <a:endParaRPr lang="es-ES"/>
        </a:p>
      </dgm:t>
    </dgm:pt>
    <dgm:pt modelId="{48DBB4D4-1594-4A21-A970-678C74505A0A}" type="pres">
      <dgm:prSet presAssocID="{8D2B4647-2CB2-466D-A280-B8A36D017FCB}" presName="composite" presStyleCnt="0"/>
      <dgm:spPr/>
    </dgm:pt>
    <dgm:pt modelId="{B8B94DC5-7AB4-45B5-8189-9D9777988F54}" type="pres">
      <dgm:prSet presAssocID="{8D2B4647-2CB2-466D-A280-B8A36D017FCB}" presName="parTx" presStyleLbl="alignNode1" presStyleIdx="0" presStyleCnt="3">
        <dgm:presLayoutVars>
          <dgm:chMax val="0"/>
          <dgm:chPref val="0"/>
          <dgm:bulletEnabled val="1"/>
        </dgm:presLayoutVars>
      </dgm:prSet>
      <dgm:spPr/>
      <dgm:t>
        <a:bodyPr/>
        <a:lstStyle/>
        <a:p>
          <a:endParaRPr lang="es-ES"/>
        </a:p>
      </dgm:t>
    </dgm:pt>
    <dgm:pt modelId="{0756B221-2479-4BFF-AFB3-506160B3C237}" type="pres">
      <dgm:prSet presAssocID="{8D2B4647-2CB2-466D-A280-B8A36D017FCB}" presName="desTx" presStyleLbl="alignAccFollowNode1" presStyleIdx="0" presStyleCnt="3">
        <dgm:presLayoutVars>
          <dgm:bulletEnabled val="1"/>
        </dgm:presLayoutVars>
      </dgm:prSet>
      <dgm:spPr/>
      <dgm:t>
        <a:bodyPr/>
        <a:lstStyle/>
        <a:p>
          <a:endParaRPr lang="es-ES"/>
        </a:p>
      </dgm:t>
    </dgm:pt>
    <dgm:pt modelId="{C5ED474F-AAF7-431D-84A6-0353DAA0D173}" type="pres">
      <dgm:prSet presAssocID="{D03AB661-59A2-414A-A919-47ABD9E484EE}" presName="space" presStyleCnt="0"/>
      <dgm:spPr/>
    </dgm:pt>
    <dgm:pt modelId="{3735257D-690C-468D-81DD-1EA787C1F1F2}" type="pres">
      <dgm:prSet presAssocID="{E6A5215D-E7F6-4F8B-B117-33C26C07F50E}" presName="composite" presStyleCnt="0"/>
      <dgm:spPr/>
    </dgm:pt>
    <dgm:pt modelId="{D0D22B25-85B1-4EA1-87FE-D53FE980BB83}" type="pres">
      <dgm:prSet presAssocID="{E6A5215D-E7F6-4F8B-B117-33C26C07F50E}" presName="parTx" presStyleLbl="alignNode1" presStyleIdx="1" presStyleCnt="3" custScaleX="129405">
        <dgm:presLayoutVars>
          <dgm:chMax val="0"/>
          <dgm:chPref val="0"/>
          <dgm:bulletEnabled val="1"/>
        </dgm:presLayoutVars>
      </dgm:prSet>
      <dgm:spPr/>
      <dgm:t>
        <a:bodyPr/>
        <a:lstStyle/>
        <a:p>
          <a:endParaRPr lang="es-ES"/>
        </a:p>
      </dgm:t>
    </dgm:pt>
    <dgm:pt modelId="{10F15A8E-E6C2-4FEC-A804-AE231D31BE08}" type="pres">
      <dgm:prSet presAssocID="{E6A5215D-E7F6-4F8B-B117-33C26C07F50E}" presName="desTx" presStyleLbl="alignAccFollowNode1" presStyleIdx="1" presStyleCnt="3" custScaleX="129405">
        <dgm:presLayoutVars>
          <dgm:bulletEnabled val="1"/>
        </dgm:presLayoutVars>
      </dgm:prSet>
      <dgm:spPr/>
      <dgm:t>
        <a:bodyPr/>
        <a:lstStyle/>
        <a:p>
          <a:endParaRPr lang="es-ES"/>
        </a:p>
      </dgm:t>
    </dgm:pt>
    <dgm:pt modelId="{0A3897AD-693F-43A2-B007-49B104B06867}" type="pres">
      <dgm:prSet presAssocID="{866C18C5-B38D-4D9F-A8AA-A490833ABC9D}" presName="space" presStyleCnt="0"/>
      <dgm:spPr/>
    </dgm:pt>
    <dgm:pt modelId="{7FF58DB9-D6C8-4EA0-9577-8F9F990BB3CD}" type="pres">
      <dgm:prSet presAssocID="{8CFC4BE0-F118-4B13-A2E8-69C7E13A3F05}" presName="composite" presStyleCnt="0"/>
      <dgm:spPr/>
    </dgm:pt>
    <dgm:pt modelId="{D6555170-B830-4D70-94B9-E9C20DBB85D1}" type="pres">
      <dgm:prSet presAssocID="{8CFC4BE0-F118-4B13-A2E8-69C7E13A3F05}" presName="parTx" presStyleLbl="alignNode1" presStyleIdx="2" presStyleCnt="3">
        <dgm:presLayoutVars>
          <dgm:chMax val="0"/>
          <dgm:chPref val="0"/>
          <dgm:bulletEnabled val="1"/>
        </dgm:presLayoutVars>
      </dgm:prSet>
      <dgm:spPr/>
      <dgm:t>
        <a:bodyPr/>
        <a:lstStyle/>
        <a:p>
          <a:endParaRPr lang="es-ES"/>
        </a:p>
      </dgm:t>
    </dgm:pt>
    <dgm:pt modelId="{A118808E-A936-457E-A487-6C45B3D2EB3A}" type="pres">
      <dgm:prSet presAssocID="{8CFC4BE0-F118-4B13-A2E8-69C7E13A3F05}" presName="desTx" presStyleLbl="alignAccFollowNode1" presStyleIdx="2" presStyleCnt="3">
        <dgm:presLayoutVars>
          <dgm:bulletEnabled val="1"/>
        </dgm:presLayoutVars>
      </dgm:prSet>
      <dgm:spPr/>
      <dgm:t>
        <a:bodyPr/>
        <a:lstStyle/>
        <a:p>
          <a:endParaRPr lang="es-ES"/>
        </a:p>
      </dgm:t>
    </dgm:pt>
  </dgm:ptLst>
  <dgm:cxnLst>
    <dgm:cxn modelId="{40BE38AD-9BD9-4D62-B2E8-F2287E7E1478}" type="presOf" srcId="{3DA6D216-58AC-4DFF-8389-7F27AA14118E}" destId="{10F15A8E-E6C2-4FEC-A804-AE231D31BE08}" srcOrd="0" destOrd="1" presId="urn:microsoft.com/office/officeart/2005/8/layout/hList1"/>
    <dgm:cxn modelId="{2F887D2C-76A9-4C4A-95C8-5DDBC7332D48}" type="presOf" srcId="{54A4D2D1-BB5B-4B7C-9FD5-41570A6E92EB}" destId="{10F15A8E-E6C2-4FEC-A804-AE231D31BE08}" srcOrd="0" destOrd="6" presId="urn:microsoft.com/office/officeart/2005/8/layout/hList1"/>
    <dgm:cxn modelId="{76123152-431A-4667-985C-D3A641E66D25}" type="presOf" srcId="{4B0B9CBD-B8F4-4782-B774-CE355F09D35C}" destId="{10F15A8E-E6C2-4FEC-A804-AE231D31BE08}" srcOrd="0" destOrd="8" presId="urn:microsoft.com/office/officeart/2005/8/layout/hList1"/>
    <dgm:cxn modelId="{51CECAAC-CDAC-41BA-B7F3-84B09D76228F}" srcId="{E6A5215D-E7F6-4F8B-B117-33C26C07F50E}" destId="{85B661C1-F323-4114-873F-9429EF6107AA}" srcOrd="7" destOrd="0" parTransId="{46D1E3B8-1E2E-4A45-94DE-1C5FBDA2EAE5}" sibTransId="{BA9FD36C-2215-42DB-B5F4-5AEAA113982F}"/>
    <dgm:cxn modelId="{9719F203-3DAA-49E8-9CB2-44652D7BCD08}" srcId="{E6A5215D-E7F6-4F8B-B117-33C26C07F50E}" destId="{3C4F776C-5EB6-4C34-9CF5-41A7C80E54B4}" srcOrd="5" destOrd="0" parTransId="{04A85702-3EE2-4550-875F-122ADCCA7BCB}" sibTransId="{185CB6EC-B2AA-4E48-B72E-238FD45BF6F6}"/>
    <dgm:cxn modelId="{4DF44993-A79F-46C5-919F-E781BCF92B9F}" srcId="{38DA8B6C-3716-4CF4-8353-E6CF9A2642EF}" destId="{8CFC4BE0-F118-4B13-A2E8-69C7E13A3F05}" srcOrd="2" destOrd="0" parTransId="{987F90FE-B73F-4465-95BF-74E3427CB26B}" sibTransId="{840AC673-9878-4F5C-9BED-97E5F0C8A7F2}"/>
    <dgm:cxn modelId="{E36AD1ED-4FC9-4AB1-9449-14CAE8D0FEBB}" srcId="{E6A5215D-E7F6-4F8B-B117-33C26C07F50E}" destId="{3DA6D216-58AC-4DFF-8389-7F27AA14118E}" srcOrd="1" destOrd="0" parTransId="{25390006-272F-4043-A006-2C8A02A1A80D}" sibTransId="{7887429F-A008-4B99-8762-DF0B3369F0AA}"/>
    <dgm:cxn modelId="{97617A60-1306-4482-BEF8-62B2CB35D406}" srcId="{E6A5215D-E7F6-4F8B-B117-33C26C07F50E}" destId="{B1526D04-0494-43E3-B629-1A68077712CB}" srcOrd="2" destOrd="0" parTransId="{13EBF493-AF09-478C-B44A-BE14C9ED77EB}" sibTransId="{87CF612E-B71A-4E90-A19C-239192480558}"/>
    <dgm:cxn modelId="{CF5C359F-CF09-4D88-81E3-CF2C75A3BA07}" type="presOf" srcId="{33DBB261-D7E2-4581-838A-4265CB91712E}" destId="{10F15A8E-E6C2-4FEC-A804-AE231D31BE08}" srcOrd="0" destOrd="0" presId="urn:microsoft.com/office/officeart/2005/8/layout/hList1"/>
    <dgm:cxn modelId="{1A7C5CE7-F2A9-4FB1-91A5-790F61DE4A2B}" type="presOf" srcId="{85B661C1-F323-4114-873F-9429EF6107AA}" destId="{10F15A8E-E6C2-4FEC-A804-AE231D31BE08}" srcOrd="0" destOrd="7" presId="urn:microsoft.com/office/officeart/2005/8/layout/hList1"/>
    <dgm:cxn modelId="{9A629A85-ED97-4F23-980C-F5A85DDF8986}" srcId="{8D2B4647-2CB2-466D-A280-B8A36D017FCB}" destId="{4CD29B73-727E-4519-900B-2ED3F5114699}" srcOrd="0" destOrd="0" parTransId="{10480AB6-588E-40A8-A318-6323796003F6}" sibTransId="{822D08AB-7443-4CA9-BA20-A8BBFADBCBE8}"/>
    <dgm:cxn modelId="{25F9519F-DEAD-4B53-9AA8-570D6DF9EE44}" type="presOf" srcId="{0EE38A9F-1328-4E0F-B63D-44C5705C12D4}" destId="{A118808E-A936-457E-A487-6C45B3D2EB3A}" srcOrd="0" destOrd="2" presId="urn:microsoft.com/office/officeart/2005/8/layout/hList1"/>
    <dgm:cxn modelId="{E083857E-EF5A-4305-96CC-122AF98990EE}" type="presOf" srcId="{798BE536-EE9F-45F9-980D-E2F4E1F87B7B}" destId="{10F15A8E-E6C2-4FEC-A804-AE231D31BE08}" srcOrd="0" destOrd="4" presId="urn:microsoft.com/office/officeart/2005/8/layout/hList1"/>
    <dgm:cxn modelId="{5043AAB0-1B31-4346-8156-F442B3D28FF0}" srcId="{38DA8B6C-3716-4CF4-8353-E6CF9A2642EF}" destId="{E6A5215D-E7F6-4F8B-B117-33C26C07F50E}" srcOrd="1" destOrd="0" parTransId="{DE530008-EB39-49AB-8D59-AA24F1F3D305}" sibTransId="{866C18C5-B38D-4D9F-A8AA-A490833ABC9D}"/>
    <dgm:cxn modelId="{E7F31E62-46FE-4863-8A13-67A92AE53949}" type="presOf" srcId="{E6A5215D-E7F6-4F8B-B117-33C26C07F50E}" destId="{D0D22B25-85B1-4EA1-87FE-D53FE980BB83}" srcOrd="0" destOrd="0" presId="urn:microsoft.com/office/officeart/2005/8/layout/hList1"/>
    <dgm:cxn modelId="{2DB8375A-402C-40D4-85EA-E680E7C42A3C}" srcId="{E6A5215D-E7F6-4F8B-B117-33C26C07F50E}" destId="{4B0B9CBD-B8F4-4782-B774-CE355F09D35C}" srcOrd="8" destOrd="0" parTransId="{FB817375-5B0F-4AC3-BA34-8E9A5122267A}" sibTransId="{422E9D38-F46E-4450-ACC0-BA76D927EF34}"/>
    <dgm:cxn modelId="{5FED60D8-F028-48F1-AB24-3C532CD03221}" srcId="{8CFC4BE0-F118-4B13-A2E8-69C7E13A3F05}" destId="{A200D664-5522-4EC2-98A6-6F8FC505C936}" srcOrd="0" destOrd="0" parTransId="{921B6058-5D37-4E70-BAA9-424E6C70B89E}" sibTransId="{6F1EF2FB-D090-4F2C-8423-E69EA6E2C5EB}"/>
    <dgm:cxn modelId="{BD1B350D-1920-4C68-B93E-99912E909D09}" type="presOf" srcId="{3C4F776C-5EB6-4C34-9CF5-41A7C80E54B4}" destId="{10F15A8E-E6C2-4FEC-A804-AE231D31BE08}" srcOrd="0" destOrd="5" presId="urn:microsoft.com/office/officeart/2005/8/layout/hList1"/>
    <dgm:cxn modelId="{752AF92F-5E83-4F63-8F45-61FF47BA02A8}" type="presOf" srcId="{8D2B4647-2CB2-466D-A280-B8A36D017FCB}" destId="{B8B94DC5-7AB4-45B5-8189-9D9777988F54}" srcOrd="0" destOrd="0" presId="urn:microsoft.com/office/officeart/2005/8/layout/hList1"/>
    <dgm:cxn modelId="{8136CAFC-30E7-4F0C-8B17-7EBEE40CC00D}" type="presOf" srcId="{B1526D04-0494-43E3-B629-1A68077712CB}" destId="{10F15A8E-E6C2-4FEC-A804-AE231D31BE08}" srcOrd="0" destOrd="2" presId="urn:microsoft.com/office/officeart/2005/8/layout/hList1"/>
    <dgm:cxn modelId="{388990D3-FF39-4D5F-94C1-C5915DE06030}" srcId="{E6A5215D-E7F6-4F8B-B117-33C26C07F50E}" destId="{798BE536-EE9F-45F9-980D-E2F4E1F87B7B}" srcOrd="4" destOrd="0" parTransId="{321D74BC-A2FF-45F4-BAC3-26A2B1CB4FC3}" sibTransId="{BBFEE913-AF27-4D6A-8925-56C43C672CE0}"/>
    <dgm:cxn modelId="{4EBDCCA3-2860-42D1-BC5A-6A504265E7E8}" srcId="{E6A5215D-E7F6-4F8B-B117-33C26C07F50E}" destId="{A5575B29-5F9B-47A0-8005-8DC103B75C16}" srcOrd="3" destOrd="0" parTransId="{8BEC962A-9536-4DCB-8550-6F74EC157DA4}" sibTransId="{0585A9CF-3D21-41E9-B3EA-280AABEC43C5}"/>
    <dgm:cxn modelId="{017FCB7D-8D67-491F-B940-6066DF7455BD}" type="presOf" srcId="{A200D664-5522-4EC2-98A6-6F8FC505C936}" destId="{A118808E-A936-457E-A487-6C45B3D2EB3A}" srcOrd="0" destOrd="0" presId="urn:microsoft.com/office/officeart/2005/8/layout/hList1"/>
    <dgm:cxn modelId="{57324088-B9B2-4017-9550-51435600A665}" srcId="{8CFC4BE0-F118-4B13-A2E8-69C7E13A3F05}" destId="{0EE38A9F-1328-4E0F-B63D-44C5705C12D4}" srcOrd="2" destOrd="0" parTransId="{4F74A48C-197F-4B45-AC3D-014E53D52DF7}" sibTransId="{094F111F-DA60-4C27-88ED-78586E183CF1}"/>
    <dgm:cxn modelId="{30EE3438-3AC8-4A90-93BD-C2F6778A0051}" srcId="{8CFC4BE0-F118-4B13-A2E8-69C7E13A3F05}" destId="{41DA9451-8BF8-4ABB-B218-48A3731904EE}" srcOrd="1" destOrd="0" parTransId="{BFC9CABB-7121-4FEF-B060-B1C0C97F12B7}" sibTransId="{EA75571D-D0E5-43B6-B3C6-E4866902449A}"/>
    <dgm:cxn modelId="{16C4F73C-CFBE-46C2-8B5B-DFF0A7B340B1}" type="presOf" srcId="{38DA8B6C-3716-4CF4-8353-E6CF9A2642EF}" destId="{A9D5D0C5-C400-4803-9D30-6840F895D6A3}" srcOrd="0" destOrd="0" presId="urn:microsoft.com/office/officeart/2005/8/layout/hList1"/>
    <dgm:cxn modelId="{1F2FAAAF-9FD2-40E1-9016-827DFCAE46F3}" type="presOf" srcId="{8CFC4BE0-F118-4B13-A2E8-69C7E13A3F05}" destId="{D6555170-B830-4D70-94B9-E9C20DBB85D1}" srcOrd="0" destOrd="0" presId="urn:microsoft.com/office/officeart/2005/8/layout/hList1"/>
    <dgm:cxn modelId="{B37993FD-BC15-4C71-89A3-67E9AB12CEA5}" srcId="{38DA8B6C-3716-4CF4-8353-E6CF9A2642EF}" destId="{8D2B4647-2CB2-466D-A280-B8A36D017FCB}" srcOrd="0" destOrd="0" parTransId="{E45D9040-0992-4026-B11D-3782A5B46759}" sibTransId="{D03AB661-59A2-414A-A919-47ABD9E484EE}"/>
    <dgm:cxn modelId="{89E8CE62-23B6-442B-9400-58CBAC7E1C12}" type="presOf" srcId="{A5575B29-5F9B-47A0-8005-8DC103B75C16}" destId="{10F15A8E-E6C2-4FEC-A804-AE231D31BE08}" srcOrd="0" destOrd="3" presId="urn:microsoft.com/office/officeart/2005/8/layout/hList1"/>
    <dgm:cxn modelId="{F4EEA7A2-C67E-48E7-8061-932CB5A64521}" srcId="{E6A5215D-E7F6-4F8B-B117-33C26C07F50E}" destId="{54A4D2D1-BB5B-4B7C-9FD5-41570A6E92EB}" srcOrd="6" destOrd="0" parTransId="{8B04F572-4304-49ED-B68A-66D5068275BE}" sibTransId="{4BF911FC-1267-490E-B395-09E68DA643E0}"/>
    <dgm:cxn modelId="{62D009C5-138F-49B6-B4E7-D37BA1AB2B32}" type="presOf" srcId="{4CD29B73-727E-4519-900B-2ED3F5114699}" destId="{0756B221-2479-4BFF-AFB3-506160B3C237}" srcOrd="0" destOrd="0" presId="urn:microsoft.com/office/officeart/2005/8/layout/hList1"/>
    <dgm:cxn modelId="{7AE1BF4B-5291-47AA-AA66-C8D1D0350CF2}" srcId="{E6A5215D-E7F6-4F8B-B117-33C26C07F50E}" destId="{33DBB261-D7E2-4581-838A-4265CB91712E}" srcOrd="0" destOrd="0" parTransId="{252B23F2-711D-4057-8E01-224F766BEB0D}" sibTransId="{21D6740E-B8C1-481B-8E1B-07AA37363D54}"/>
    <dgm:cxn modelId="{C0E37D5F-44A5-4F6D-BCC7-A3C96608894E}" type="presOf" srcId="{41DA9451-8BF8-4ABB-B218-48A3731904EE}" destId="{A118808E-A936-457E-A487-6C45B3D2EB3A}" srcOrd="0" destOrd="1" presId="urn:microsoft.com/office/officeart/2005/8/layout/hList1"/>
    <dgm:cxn modelId="{3E0B435E-4B39-4ABF-8062-602281F785B1}" type="presParOf" srcId="{A9D5D0C5-C400-4803-9D30-6840F895D6A3}" destId="{48DBB4D4-1594-4A21-A970-678C74505A0A}" srcOrd="0" destOrd="0" presId="urn:microsoft.com/office/officeart/2005/8/layout/hList1"/>
    <dgm:cxn modelId="{8A1D3253-EFEC-4B87-8209-3739F0D81567}" type="presParOf" srcId="{48DBB4D4-1594-4A21-A970-678C74505A0A}" destId="{B8B94DC5-7AB4-45B5-8189-9D9777988F54}" srcOrd="0" destOrd="0" presId="urn:microsoft.com/office/officeart/2005/8/layout/hList1"/>
    <dgm:cxn modelId="{B30B8C03-ECA7-4647-BA47-CF2BC1CBB2E6}" type="presParOf" srcId="{48DBB4D4-1594-4A21-A970-678C74505A0A}" destId="{0756B221-2479-4BFF-AFB3-506160B3C237}" srcOrd="1" destOrd="0" presId="urn:microsoft.com/office/officeart/2005/8/layout/hList1"/>
    <dgm:cxn modelId="{A66436A1-9FE4-450C-BD2E-A4792984629C}" type="presParOf" srcId="{A9D5D0C5-C400-4803-9D30-6840F895D6A3}" destId="{C5ED474F-AAF7-431D-84A6-0353DAA0D173}" srcOrd="1" destOrd="0" presId="urn:microsoft.com/office/officeart/2005/8/layout/hList1"/>
    <dgm:cxn modelId="{A5C04388-4D09-41DE-8AD4-ECCF9A7302F2}" type="presParOf" srcId="{A9D5D0C5-C400-4803-9D30-6840F895D6A3}" destId="{3735257D-690C-468D-81DD-1EA787C1F1F2}" srcOrd="2" destOrd="0" presId="urn:microsoft.com/office/officeart/2005/8/layout/hList1"/>
    <dgm:cxn modelId="{2B48342B-D345-4E49-A145-DF56618A2AE9}" type="presParOf" srcId="{3735257D-690C-468D-81DD-1EA787C1F1F2}" destId="{D0D22B25-85B1-4EA1-87FE-D53FE980BB83}" srcOrd="0" destOrd="0" presId="urn:microsoft.com/office/officeart/2005/8/layout/hList1"/>
    <dgm:cxn modelId="{55072017-8D99-4556-BDDC-4F71CEB0823A}" type="presParOf" srcId="{3735257D-690C-468D-81DD-1EA787C1F1F2}" destId="{10F15A8E-E6C2-4FEC-A804-AE231D31BE08}" srcOrd="1" destOrd="0" presId="urn:microsoft.com/office/officeart/2005/8/layout/hList1"/>
    <dgm:cxn modelId="{677B768D-B608-45CB-A653-2E7D4719CE66}" type="presParOf" srcId="{A9D5D0C5-C400-4803-9D30-6840F895D6A3}" destId="{0A3897AD-693F-43A2-B007-49B104B06867}" srcOrd="3" destOrd="0" presId="urn:microsoft.com/office/officeart/2005/8/layout/hList1"/>
    <dgm:cxn modelId="{12E524D3-D607-483D-9253-D46C4E2E3627}" type="presParOf" srcId="{A9D5D0C5-C400-4803-9D30-6840F895D6A3}" destId="{7FF58DB9-D6C8-4EA0-9577-8F9F990BB3CD}" srcOrd="4" destOrd="0" presId="urn:microsoft.com/office/officeart/2005/8/layout/hList1"/>
    <dgm:cxn modelId="{5BDB94B2-87A2-453C-B023-CB2E8E095CC3}" type="presParOf" srcId="{7FF58DB9-D6C8-4EA0-9577-8F9F990BB3CD}" destId="{D6555170-B830-4D70-94B9-E9C20DBB85D1}" srcOrd="0" destOrd="0" presId="urn:microsoft.com/office/officeart/2005/8/layout/hList1"/>
    <dgm:cxn modelId="{9B3F5CE4-F350-4572-A927-7ADE2366E586}" type="presParOf" srcId="{7FF58DB9-D6C8-4EA0-9577-8F9F990BB3CD}" destId="{A118808E-A936-457E-A487-6C45B3D2EB3A}" srcOrd="1" destOrd="0" presId="urn:microsoft.com/office/officeart/2005/8/layout/hList1"/>
  </dgm:cxnLst>
  <dgm:bg/>
  <dgm:whole/>
  <dgm:extLst>
    <a:ext uri="http://schemas.microsoft.com/office/drawing/2008/diagram"/>
  </dgm:extLst>
</dgm:dataModel>
</file>

<file path=ppt/diagrams/data3.xml><?xml version="1.0" encoding="utf-8"?>
<dgm:dataModel xmlns:dgm="http://schemas.openxmlformats.org/drawingml/2006/diagram" xmlns:a="http://schemas.openxmlformats.org/drawingml/2006/main">
  <dgm:ptLst>
    <dgm:pt modelId="{F8C9AE6C-2840-451C-B0E5-89D45F4EDA27}" type="doc">
      <dgm:prSet loTypeId="urn:microsoft.com/office/officeart/2005/8/layout/list1" loCatId="list" qsTypeId="urn:microsoft.com/office/officeart/2005/8/quickstyle/simple1#3" qsCatId="simple" csTypeId="urn:microsoft.com/office/officeart/2005/8/colors/accent1_2#1" csCatId="accent1" phldr="1"/>
      <dgm:spPr/>
      <dgm:t>
        <a:bodyPr/>
        <a:lstStyle/>
        <a:p>
          <a:endParaRPr lang="es-ES"/>
        </a:p>
      </dgm:t>
    </dgm:pt>
    <dgm:pt modelId="{E099C211-9FA3-4FB9-8016-B50D2BF25736}">
      <dgm:prSet phldrT="[Text]" custT="1">
        <dgm:style>
          <a:lnRef idx="3">
            <a:schemeClr val="lt1"/>
          </a:lnRef>
          <a:fillRef idx="1">
            <a:schemeClr val="accent2"/>
          </a:fillRef>
          <a:effectRef idx="1">
            <a:schemeClr val="accent2"/>
          </a:effectRef>
          <a:fontRef idx="minor">
            <a:schemeClr val="lt1"/>
          </a:fontRef>
        </dgm:style>
      </dgm:prSet>
      <dgm:spPr/>
      <dgm:t>
        <a:bodyPr/>
        <a:lstStyle/>
        <a:p>
          <a:r>
            <a:rPr lang="es-ES" sz="1400" dirty="0" smtClean="0">
              <a:solidFill>
                <a:schemeClr val="bg1"/>
              </a:solidFill>
            </a:rPr>
            <a:t>Business case</a:t>
          </a:r>
          <a:endParaRPr lang="es-ES" sz="1400" dirty="0">
            <a:solidFill>
              <a:schemeClr val="bg1"/>
            </a:solidFill>
          </a:endParaRPr>
        </a:p>
      </dgm:t>
    </dgm:pt>
    <dgm:pt modelId="{EC0358E8-98D4-4A1A-A147-B724339F86FE}" type="parTrans" cxnId="{BCD23479-6C9D-4C8E-A39A-5194B4C0AF32}">
      <dgm:prSet/>
      <dgm:spPr/>
      <dgm:t>
        <a:bodyPr/>
        <a:lstStyle/>
        <a:p>
          <a:endParaRPr lang="es-ES"/>
        </a:p>
      </dgm:t>
    </dgm:pt>
    <dgm:pt modelId="{75E9A456-B6C9-4FB1-8328-3C147B8B010B}" type="sibTrans" cxnId="{BCD23479-6C9D-4C8E-A39A-5194B4C0AF32}">
      <dgm:prSet/>
      <dgm:spPr/>
      <dgm:t>
        <a:bodyPr/>
        <a:lstStyle/>
        <a:p>
          <a:endParaRPr lang="es-ES"/>
        </a:p>
      </dgm:t>
    </dgm:pt>
    <dgm:pt modelId="{99FAFE22-9A19-4369-82F6-1FCD6361B10E}">
      <dgm:prSet phldrT="[Text]" custT="1">
        <dgm:style>
          <a:lnRef idx="1">
            <a:schemeClr val="accent2"/>
          </a:lnRef>
          <a:fillRef idx="2">
            <a:schemeClr val="accent2"/>
          </a:fillRef>
          <a:effectRef idx="1">
            <a:schemeClr val="accent2"/>
          </a:effectRef>
          <a:fontRef idx="minor">
            <a:schemeClr val="dk1"/>
          </a:fontRef>
        </dgm:style>
      </dgm:prSet>
      <dgm:spPr/>
      <dgm:t>
        <a:bodyPr/>
        <a:lstStyle/>
        <a:p>
          <a:r>
            <a:rPr lang="en-US" sz="1600" dirty="0" smtClean="0">
              <a:solidFill>
                <a:srgbClr val="17375E"/>
              </a:solidFill>
            </a:rPr>
            <a:t>With the self-employed flat rate, a new fraudulent practice has been detected: the Company forces employees to sign in RETA with the flat rate, whilst maintaining their original/normal activity in the Company. In this way, the amount due will be lower even when they still work for the Company.</a:t>
          </a:r>
          <a:endParaRPr lang="es-ES" sz="1600" dirty="0">
            <a:solidFill>
              <a:srgbClr val="17375E"/>
            </a:solidFill>
          </a:endParaRPr>
        </a:p>
      </dgm:t>
    </dgm:pt>
    <dgm:pt modelId="{8E3E5CA6-8F2D-43AE-BD71-7829A1A9FC60}" type="parTrans" cxnId="{090A9447-EADD-4DFC-8850-1291A8984A0D}">
      <dgm:prSet/>
      <dgm:spPr/>
      <dgm:t>
        <a:bodyPr/>
        <a:lstStyle/>
        <a:p>
          <a:endParaRPr lang="es-ES"/>
        </a:p>
      </dgm:t>
    </dgm:pt>
    <dgm:pt modelId="{05E5E82A-505D-4C33-98F7-13C2E0A3D9B8}" type="sibTrans" cxnId="{090A9447-EADD-4DFC-8850-1291A8984A0D}">
      <dgm:prSet/>
      <dgm:spPr/>
      <dgm:t>
        <a:bodyPr/>
        <a:lstStyle/>
        <a:p>
          <a:endParaRPr lang="es-ES"/>
        </a:p>
      </dgm:t>
    </dgm:pt>
    <dgm:pt modelId="{A823DC21-2B2F-4CEF-8078-C49192E33B26}" type="pres">
      <dgm:prSet presAssocID="{F8C9AE6C-2840-451C-B0E5-89D45F4EDA27}" presName="linear" presStyleCnt="0">
        <dgm:presLayoutVars>
          <dgm:dir/>
          <dgm:animLvl val="lvl"/>
          <dgm:resizeHandles val="exact"/>
        </dgm:presLayoutVars>
      </dgm:prSet>
      <dgm:spPr/>
      <dgm:t>
        <a:bodyPr/>
        <a:lstStyle/>
        <a:p>
          <a:endParaRPr lang="en-US"/>
        </a:p>
      </dgm:t>
    </dgm:pt>
    <dgm:pt modelId="{1D53F12F-51D6-401B-AC52-D7069C6D2CEA}" type="pres">
      <dgm:prSet presAssocID="{E099C211-9FA3-4FB9-8016-B50D2BF25736}" presName="parentLin" presStyleCnt="0"/>
      <dgm:spPr/>
    </dgm:pt>
    <dgm:pt modelId="{25336F0F-C0B0-4359-A024-34157601D405}" type="pres">
      <dgm:prSet presAssocID="{E099C211-9FA3-4FB9-8016-B50D2BF25736}" presName="parentLeftMargin" presStyleLbl="node1" presStyleIdx="0" presStyleCnt="1"/>
      <dgm:spPr/>
      <dgm:t>
        <a:bodyPr/>
        <a:lstStyle/>
        <a:p>
          <a:endParaRPr lang="en-US"/>
        </a:p>
      </dgm:t>
    </dgm:pt>
    <dgm:pt modelId="{786DC47C-60DC-4108-A405-44AF66C8BCCA}" type="pres">
      <dgm:prSet presAssocID="{E099C211-9FA3-4FB9-8016-B50D2BF25736}" presName="parentText" presStyleLbl="node1" presStyleIdx="0" presStyleCnt="1">
        <dgm:presLayoutVars>
          <dgm:chMax val="0"/>
          <dgm:bulletEnabled val="1"/>
        </dgm:presLayoutVars>
      </dgm:prSet>
      <dgm:spPr/>
      <dgm:t>
        <a:bodyPr/>
        <a:lstStyle/>
        <a:p>
          <a:endParaRPr lang="en-US"/>
        </a:p>
      </dgm:t>
    </dgm:pt>
    <dgm:pt modelId="{17DB0FBF-19ED-486B-873F-1D3AB70D9738}" type="pres">
      <dgm:prSet presAssocID="{E099C211-9FA3-4FB9-8016-B50D2BF25736}" presName="negativeSpace" presStyleCnt="0"/>
      <dgm:spPr/>
    </dgm:pt>
    <dgm:pt modelId="{B21C4182-6DAD-4659-A796-E1AED0DB21F3}" type="pres">
      <dgm:prSet presAssocID="{E099C211-9FA3-4FB9-8016-B50D2BF25736}" presName="childText" presStyleLbl="conFgAcc1" presStyleIdx="0" presStyleCnt="1">
        <dgm:presLayoutVars>
          <dgm:bulletEnabled val="1"/>
        </dgm:presLayoutVars>
      </dgm:prSet>
      <dgm:spPr/>
      <dgm:t>
        <a:bodyPr/>
        <a:lstStyle/>
        <a:p>
          <a:endParaRPr lang="es-ES"/>
        </a:p>
      </dgm:t>
    </dgm:pt>
  </dgm:ptLst>
  <dgm:cxnLst>
    <dgm:cxn modelId="{D6BA69C2-E755-4F98-AB1B-CF01BBDB6C53}" type="presOf" srcId="{99FAFE22-9A19-4369-82F6-1FCD6361B10E}" destId="{B21C4182-6DAD-4659-A796-E1AED0DB21F3}" srcOrd="0" destOrd="0" presId="urn:microsoft.com/office/officeart/2005/8/layout/list1"/>
    <dgm:cxn modelId="{7986DD4C-3156-4FB9-B0FE-DA998A098F45}" type="presOf" srcId="{F8C9AE6C-2840-451C-B0E5-89D45F4EDA27}" destId="{A823DC21-2B2F-4CEF-8078-C49192E33B26}" srcOrd="0" destOrd="0" presId="urn:microsoft.com/office/officeart/2005/8/layout/list1"/>
    <dgm:cxn modelId="{E3B98AB6-850C-42BC-B89D-957098B76345}" type="presOf" srcId="{E099C211-9FA3-4FB9-8016-B50D2BF25736}" destId="{25336F0F-C0B0-4359-A024-34157601D405}" srcOrd="0" destOrd="0" presId="urn:microsoft.com/office/officeart/2005/8/layout/list1"/>
    <dgm:cxn modelId="{090A9447-EADD-4DFC-8850-1291A8984A0D}" srcId="{E099C211-9FA3-4FB9-8016-B50D2BF25736}" destId="{99FAFE22-9A19-4369-82F6-1FCD6361B10E}" srcOrd="0" destOrd="0" parTransId="{8E3E5CA6-8F2D-43AE-BD71-7829A1A9FC60}" sibTransId="{05E5E82A-505D-4C33-98F7-13C2E0A3D9B8}"/>
    <dgm:cxn modelId="{BCD23479-6C9D-4C8E-A39A-5194B4C0AF32}" srcId="{F8C9AE6C-2840-451C-B0E5-89D45F4EDA27}" destId="{E099C211-9FA3-4FB9-8016-B50D2BF25736}" srcOrd="0" destOrd="0" parTransId="{EC0358E8-98D4-4A1A-A147-B724339F86FE}" sibTransId="{75E9A456-B6C9-4FB1-8328-3C147B8B010B}"/>
    <dgm:cxn modelId="{0D443504-F02F-429C-9F12-BF1953BF7AA4}" type="presOf" srcId="{E099C211-9FA3-4FB9-8016-B50D2BF25736}" destId="{786DC47C-60DC-4108-A405-44AF66C8BCCA}" srcOrd="1" destOrd="0" presId="urn:microsoft.com/office/officeart/2005/8/layout/list1"/>
    <dgm:cxn modelId="{FB4CEB65-E812-42EA-8BC2-5567BC1934B8}" type="presParOf" srcId="{A823DC21-2B2F-4CEF-8078-C49192E33B26}" destId="{1D53F12F-51D6-401B-AC52-D7069C6D2CEA}" srcOrd="0" destOrd="0" presId="urn:microsoft.com/office/officeart/2005/8/layout/list1"/>
    <dgm:cxn modelId="{B32DA7A3-5FEC-49B4-AFD5-EDEBBE358879}" type="presParOf" srcId="{1D53F12F-51D6-401B-AC52-D7069C6D2CEA}" destId="{25336F0F-C0B0-4359-A024-34157601D405}" srcOrd="0" destOrd="0" presId="urn:microsoft.com/office/officeart/2005/8/layout/list1"/>
    <dgm:cxn modelId="{F113ED81-31F1-4232-95F0-9347358761CD}" type="presParOf" srcId="{1D53F12F-51D6-401B-AC52-D7069C6D2CEA}" destId="{786DC47C-60DC-4108-A405-44AF66C8BCCA}" srcOrd="1" destOrd="0" presId="urn:microsoft.com/office/officeart/2005/8/layout/list1"/>
    <dgm:cxn modelId="{96655204-D48A-4D5E-8393-B85A76DD4D23}" type="presParOf" srcId="{A823DC21-2B2F-4CEF-8078-C49192E33B26}" destId="{17DB0FBF-19ED-486B-873F-1D3AB70D9738}" srcOrd="1" destOrd="0" presId="urn:microsoft.com/office/officeart/2005/8/layout/list1"/>
    <dgm:cxn modelId="{0D8D32CF-C0DB-4177-9745-8529F1C21461}" type="presParOf" srcId="{A823DC21-2B2F-4CEF-8078-C49192E33B26}" destId="{B21C4182-6DAD-4659-A796-E1AED0DB21F3}" srcOrd="2" destOrd="0" presId="urn:microsoft.com/office/officeart/2005/8/layout/list1"/>
  </dgm:cxnLst>
  <dgm:bg/>
  <dgm:whole/>
  <dgm:extLst>
    <a:ext uri="http://schemas.microsoft.com/office/drawing/2008/diagram"/>
  </dgm:extLst>
</dgm:dataModel>
</file>

<file path=ppt/diagrams/data4.xml><?xml version="1.0" encoding="utf-8"?>
<dgm:dataModel xmlns:dgm="http://schemas.openxmlformats.org/drawingml/2006/diagram" xmlns:a="http://schemas.openxmlformats.org/drawingml/2006/main">
  <dgm:ptLst>
    <dgm:pt modelId="{F8C9AE6C-2840-451C-B0E5-89D45F4EDA27}" type="doc">
      <dgm:prSet loTypeId="urn:microsoft.com/office/officeart/2005/8/layout/list1" loCatId="list" qsTypeId="urn:microsoft.com/office/officeart/2005/8/quickstyle/simple1#4" qsCatId="simple" csTypeId="urn:microsoft.com/office/officeart/2005/8/colors/accent1_2#2" csCatId="accent1" phldr="1"/>
      <dgm:spPr/>
      <dgm:t>
        <a:bodyPr/>
        <a:lstStyle/>
        <a:p>
          <a:endParaRPr lang="es-ES"/>
        </a:p>
      </dgm:t>
    </dgm:pt>
    <dgm:pt modelId="{E099C211-9FA3-4FB9-8016-B50D2BF25736}">
      <dgm:prSet phldrT="[Text]" custT="1">
        <dgm:style>
          <a:lnRef idx="3">
            <a:schemeClr val="lt1"/>
          </a:lnRef>
          <a:fillRef idx="1">
            <a:schemeClr val="accent2"/>
          </a:fillRef>
          <a:effectRef idx="1">
            <a:schemeClr val="accent2"/>
          </a:effectRef>
          <a:fontRef idx="minor">
            <a:schemeClr val="lt1"/>
          </a:fontRef>
        </dgm:style>
      </dgm:prSet>
      <dgm:spPr/>
      <dgm:t>
        <a:bodyPr/>
        <a:lstStyle/>
        <a:p>
          <a:r>
            <a:rPr lang="es-ES" sz="1400" dirty="0" smtClean="0">
              <a:solidFill>
                <a:schemeClr val="bg1"/>
              </a:solidFill>
            </a:rPr>
            <a:t>Business case</a:t>
          </a:r>
          <a:endParaRPr lang="es-ES" sz="1400" dirty="0">
            <a:solidFill>
              <a:schemeClr val="bg1"/>
            </a:solidFill>
          </a:endParaRPr>
        </a:p>
      </dgm:t>
    </dgm:pt>
    <dgm:pt modelId="{EC0358E8-98D4-4A1A-A147-B724339F86FE}" type="parTrans" cxnId="{BCD23479-6C9D-4C8E-A39A-5194B4C0AF32}">
      <dgm:prSet/>
      <dgm:spPr/>
      <dgm:t>
        <a:bodyPr/>
        <a:lstStyle/>
        <a:p>
          <a:endParaRPr lang="es-ES"/>
        </a:p>
      </dgm:t>
    </dgm:pt>
    <dgm:pt modelId="{75E9A456-B6C9-4FB1-8328-3C147B8B010B}" type="sibTrans" cxnId="{BCD23479-6C9D-4C8E-A39A-5194B4C0AF32}">
      <dgm:prSet/>
      <dgm:spPr/>
      <dgm:t>
        <a:bodyPr/>
        <a:lstStyle/>
        <a:p>
          <a:endParaRPr lang="es-ES"/>
        </a:p>
      </dgm:t>
    </dgm:pt>
    <dgm:pt modelId="{99FAFE22-9A19-4369-82F6-1FCD6361B10E}">
      <dgm:prSet phldrT="[Text]" custT="1">
        <dgm:style>
          <a:lnRef idx="1">
            <a:schemeClr val="accent2"/>
          </a:lnRef>
          <a:fillRef idx="2">
            <a:schemeClr val="accent2"/>
          </a:fillRef>
          <a:effectRef idx="1">
            <a:schemeClr val="accent2"/>
          </a:effectRef>
          <a:fontRef idx="minor">
            <a:schemeClr val="dk1"/>
          </a:fontRef>
        </dgm:style>
      </dgm:prSet>
      <dgm:spPr/>
      <dgm:t>
        <a:bodyPr/>
        <a:lstStyle/>
        <a:p>
          <a:pPr algn="just"/>
          <a:r>
            <a:rPr lang="en-US" sz="1600" dirty="0" smtClean="0">
              <a:solidFill>
                <a:srgbClr val="17375E"/>
              </a:solidFill>
            </a:rPr>
            <a:t>On 22th of December 2013, a change was made to Article 109 of the Social Security law. </a:t>
          </a:r>
          <a:endParaRPr lang="es-ES" sz="1600" dirty="0">
            <a:solidFill>
              <a:srgbClr val="17375E"/>
            </a:solidFill>
          </a:endParaRPr>
        </a:p>
      </dgm:t>
    </dgm:pt>
    <dgm:pt modelId="{8E3E5CA6-8F2D-43AE-BD71-7829A1A9FC60}" type="parTrans" cxnId="{090A9447-EADD-4DFC-8850-1291A8984A0D}">
      <dgm:prSet/>
      <dgm:spPr/>
      <dgm:t>
        <a:bodyPr/>
        <a:lstStyle/>
        <a:p>
          <a:endParaRPr lang="es-ES"/>
        </a:p>
      </dgm:t>
    </dgm:pt>
    <dgm:pt modelId="{05E5E82A-505D-4C33-98F7-13C2E0A3D9B8}" type="sibTrans" cxnId="{090A9447-EADD-4DFC-8850-1291A8984A0D}">
      <dgm:prSet/>
      <dgm:spPr/>
      <dgm:t>
        <a:bodyPr/>
        <a:lstStyle/>
        <a:p>
          <a:endParaRPr lang="es-ES"/>
        </a:p>
      </dgm:t>
    </dgm:pt>
    <dgm:pt modelId="{795C3FDD-B6DF-43F6-BB7E-92E10786318D}">
      <dgm:prSet custT="1"/>
      <dgm:spPr/>
      <dgm:t>
        <a:bodyPr/>
        <a:lstStyle/>
        <a:p>
          <a:r>
            <a:rPr lang="en-US" sz="1600" dirty="0" smtClean="0">
              <a:solidFill>
                <a:srgbClr val="17375E"/>
              </a:solidFill>
            </a:rPr>
            <a:t>This resulted in 10 of the 56 retributive concepts changed the basis on which they were calculated, however not all companies have implemented this correctly</a:t>
          </a:r>
          <a:endParaRPr lang="es-ES" sz="1600" dirty="0">
            <a:solidFill>
              <a:srgbClr val="17375E"/>
            </a:solidFill>
          </a:endParaRPr>
        </a:p>
      </dgm:t>
    </dgm:pt>
    <dgm:pt modelId="{23D0515C-38FB-449E-A470-D8F6FFB40228}" type="parTrans" cxnId="{8A3A5CC0-FB9C-4EDF-9650-013AC87AB9EE}">
      <dgm:prSet/>
      <dgm:spPr/>
      <dgm:t>
        <a:bodyPr/>
        <a:lstStyle/>
        <a:p>
          <a:endParaRPr lang="es-ES"/>
        </a:p>
      </dgm:t>
    </dgm:pt>
    <dgm:pt modelId="{3728D873-6971-4973-99A0-DB49DD7ADFA9}" type="sibTrans" cxnId="{8A3A5CC0-FB9C-4EDF-9650-013AC87AB9EE}">
      <dgm:prSet/>
      <dgm:spPr/>
      <dgm:t>
        <a:bodyPr/>
        <a:lstStyle/>
        <a:p>
          <a:endParaRPr lang="es-ES"/>
        </a:p>
      </dgm:t>
    </dgm:pt>
    <dgm:pt modelId="{28944A9F-7EAF-49C8-B3BF-11C6564954C3}">
      <dgm:prSet phldrT="[Text]" custT="1">
        <dgm:style>
          <a:lnRef idx="1">
            <a:schemeClr val="accent2"/>
          </a:lnRef>
          <a:fillRef idx="2">
            <a:schemeClr val="accent2"/>
          </a:fillRef>
          <a:effectRef idx="1">
            <a:schemeClr val="accent2"/>
          </a:effectRef>
          <a:fontRef idx="minor">
            <a:schemeClr val="dk1"/>
          </a:fontRef>
        </dgm:style>
      </dgm:prSet>
      <dgm:spPr/>
      <dgm:t>
        <a:bodyPr/>
        <a:lstStyle/>
        <a:p>
          <a:pPr algn="just"/>
          <a:endParaRPr lang="es-ES" sz="1600" dirty="0">
            <a:solidFill>
              <a:srgbClr val="17375E"/>
            </a:solidFill>
          </a:endParaRPr>
        </a:p>
      </dgm:t>
    </dgm:pt>
    <dgm:pt modelId="{6FA366E7-4425-463A-A062-C80DB88744CC}" type="parTrans" cxnId="{C2CA53AD-B3BA-428F-A429-1F926E1AE39D}">
      <dgm:prSet/>
      <dgm:spPr/>
      <dgm:t>
        <a:bodyPr/>
        <a:lstStyle/>
        <a:p>
          <a:endParaRPr lang="es-ES"/>
        </a:p>
      </dgm:t>
    </dgm:pt>
    <dgm:pt modelId="{C57C04F0-9377-48BC-9A8B-C0274B8E7BDD}" type="sibTrans" cxnId="{C2CA53AD-B3BA-428F-A429-1F926E1AE39D}">
      <dgm:prSet/>
      <dgm:spPr/>
      <dgm:t>
        <a:bodyPr/>
        <a:lstStyle/>
        <a:p>
          <a:endParaRPr lang="es-ES"/>
        </a:p>
      </dgm:t>
    </dgm:pt>
    <dgm:pt modelId="{A823DC21-2B2F-4CEF-8078-C49192E33B26}" type="pres">
      <dgm:prSet presAssocID="{F8C9AE6C-2840-451C-B0E5-89D45F4EDA27}" presName="linear" presStyleCnt="0">
        <dgm:presLayoutVars>
          <dgm:dir/>
          <dgm:animLvl val="lvl"/>
          <dgm:resizeHandles val="exact"/>
        </dgm:presLayoutVars>
      </dgm:prSet>
      <dgm:spPr/>
      <dgm:t>
        <a:bodyPr/>
        <a:lstStyle/>
        <a:p>
          <a:endParaRPr lang="en-US"/>
        </a:p>
      </dgm:t>
    </dgm:pt>
    <dgm:pt modelId="{1D53F12F-51D6-401B-AC52-D7069C6D2CEA}" type="pres">
      <dgm:prSet presAssocID="{E099C211-9FA3-4FB9-8016-B50D2BF25736}" presName="parentLin" presStyleCnt="0"/>
      <dgm:spPr/>
    </dgm:pt>
    <dgm:pt modelId="{25336F0F-C0B0-4359-A024-34157601D405}" type="pres">
      <dgm:prSet presAssocID="{E099C211-9FA3-4FB9-8016-B50D2BF25736}" presName="parentLeftMargin" presStyleLbl="node1" presStyleIdx="0" presStyleCnt="1"/>
      <dgm:spPr/>
      <dgm:t>
        <a:bodyPr/>
        <a:lstStyle/>
        <a:p>
          <a:endParaRPr lang="en-US"/>
        </a:p>
      </dgm:t>
    </dgm:pt>
    <dgm:pt modelId="{786DC47C-60DC-4108-A405-44AF66C8BCCA}" type="pres">
      <dgm:prSet presAssocID="{E099C211-9FA3-4FB9-8016-B50D2BF25736}" presName="parentText" presStyleLbl="node1" presStyleIdx="0" presStyleCnt="1" custScaleY="78788" custLinFactNeighborY="-22490">
        <dgm:presLayoutVars>
          <dgm:chMax val="0"/>
          <dgm:bulletEnabled val="1"/>
        </dgm:presLayoutVars>
      </dgm:prSet>
      <dgm:spPr/>
      <dgm:t>
        <a:bodyPr/>
        <a:lstStyle/>
        <a:p>
          <a:endParaRPr lang="en-US"/>
        </a:p>
      </dgm:t>
    </dgm:pt>
    <dgm:pt modelId="{17DB0FBF-19ED-486B-873F-1D3AB70D9738}" type="pres">
      <dgm:prSet presAssocID="{E099C211-9FA3-4FB9-8016-B50D2BF25736}" presName="negativeSpace" presStyleCnt="0"/>
      <dgm:spPr/>
    </dgm:pt>
    <dgm:pt modelId="{B21C4182-6DAD-4659-A796-E1AED0DB21F3}" type="pres">
      <dgm:prSet presAssocID="{E099C211-9FA3-4FB9-8016-B50D2BF25736}" presName="childText" presStyleLbl="conFgAcc1" presStyleIdx="0" presStyleCnt="1" custLinFactNeighborX="-917" custLinFactNeighborY="-13786">
        <dgm:presLayoutVars>
          <dgm:bulletEnabled val="1"/>
        </dgm:presLayoutVars>
      </dgm:prSet>
      <dgm:spPr/>
      <dgm:t>
        <a:bodyPr/>
        <a:lstStyle/>
        <a:p>
          <a:endParaRPr lang="es-ES"/>
        </a:p>
      </dgm:t>
    </dgm:pt>
  </dgm:ptLst>
  <dgm:cxnLst>
    <dgm:cxn modelId="{8A3A5CC0-FB9C-4EDF-9650-013AC87AB9EE}" srcId="{E099C211-9FA3-4FB9-8016-B50D2BF25736}" destId="{795C3FDD-B6DF-43F6-BB7E-92E10786318D}" srcOrd="2" destOrd="0" parTransId="{23D0515C-38FB-449E-A470-D8F6FFB40228}" sibTransId="{3728D873-6971-4973-99A0-DB49DD7ADFA9}"/>
    <dgm:cxn modelId="{C2CA53AD-B3BA-428F-A429-1F926E1AE39D}" srcId="{E099C211-9FA3-4FB9-8016-B50D2BF25736}" destId="{28944A9F-7EAF-49C8-B3BF-11C6564954C3}" srcOrd="1" destOrd="0" parTransId="{6FA366E7-4425-463A-A062-C80DB88744CC}" sibTransId="{C57C04F0-9377-48BC-9A8B-C0274B8E7BDD}"/>
    <dgm:cxn modelId="{9D41C697-30CA-456A-8CA4-240BDFBFAC15}" type="presOf" srcId="{E099C211-9FA3-4FB9-8016-B50D2BF25736}" destId="{25336F0F-C0B0-4359-A024-34157601D405}" srcOrd="0" destOrd="0" presId="urn:microsoft.com/office/officeart/2005/8/layout/list1"/>
    <dgm:cxn modelId="{83B6A680-64CF-4EB7-8899-FE3A3CC85311}" type="presOf" srcId="{E099C211-9FA3-4FB9-8016-B50D2BF25736}" destId="{786DC47C-60DC-4108-A405-44AF66C8BCCA}" srcOrd="1" destOrd="0" presId="urn:microsoft.com/office/officeart/2005/8/layout/list1"/>
    <dgm:cxn modelId="{6F3C66ED-9F1E-4968-80AD-63520F68891C}" type="presOf" srcId="{F8C9AE6C-2840-451C-B0E5-89D45F4EDA27}" destId="{A823DC21-2B2F-4CEF-8078-C49192E33B26}" srcOrd="0" destOrd="0" presId="urn:microsoft.com/office/officeart/2005/8/layout/list1"/>
    <dgm:cxn modelId="{D287E4AD-2842-4B6E-87D2-BB9534533C25}" type="presOf" srcId="{28944A9F-7EAF-49C8-B3BF-11C6564954C3}" destId="{B21C4182-6DAD-4659-A796-E1AED0DB21F3}" srcOrd="0" destOrd="1" presId="urn:microsoft.com/office/officeart/2005/8/layout/list1"/>
    <dgm:cxn modelId="{426D9460-ED7B-4CB7-BE61-4878FC7F0104}" type="presOf" srcId="{99FAFE22-9A19-4369-82F6-1FCD6361B10E}" destId="{B21C4182-6DAD-4659-A796-E1AED0DB21F3}" srcOrd="0" destOrd="0" presId="urn:microsoft.com/office/officeart/2005/8/layout/list1"/>
    <dgm:cxn modelId="{AAC73EA3-7AAD-41B4-9F42-6FBB5C88CBBF}" type="presOf" srcId="{795C3FDD-B6DF-43F6-BB7E-92E10786318D}" destId="{B21C4182-6DAD-4659-A796-E1AED0DB21F3}" srcOrd="0" destOrd="2" presId="urn:microsoft.com/office/officeart/2005/8/layout/list1"/>
    <dgm:cxn modelId="{090A9447-EADD-4DFC-8850-1291A8984A0D}" srcId="{E099C211-9FA3-4FB9-8016-B50D2BF25736}" destId="{99FAFE22-9A19-4369-82F6-1FCD6361B10E}" srcOrd="0" destOrd="0" parTransId="{8E3E5CA6-8F2D-43AE-BD71-7829A1A9FC60}" sibTransId="{05E5E82A-505D-4C33-98F7-13C2E0A3D9B8}"/>
    <dgm:cxn modelId="{BCD23479-6C9D-4C8E-A39A-5194B4C0AF32}" srcId="{F8C9AE6C-2840-451C-B0E5-89D45F4EDA27}" destId="{E099C211-9FA3-4FB9-8016-B50D2BF25736}" srcOrd="0" destOrd="0" parTransId="{EC0358E8-98D4-4A1A-A147-B724339F86FE}" sibTransId="{75E9A456-B6C9-4FB1-8328-3C147B8B010B}"/>
    <dgm:cxn modelId="{08B3CEF3-80DC-4A83-B4B2-04CF3667E3BA}" type="presParOf" srcId="{A823DC21-2B2F-4CEF-8078-C49192E33B26}" destId="{1D53F12F-51D6-401B-AC52-D7069C6D2CEA}" srcOrd="0" destOrd="0" presId="urn:microsoft.com/office/officeart/2005/8/layout/list1"/>
    <dgm:cxn modelId="{0376CD73-6E72-4304-AE35-0F3D8FDC0D33}" type="presParOf" srcId="{1D53F12F-51D6-401B-AC52-D7069C6D2CEA}" destId="{25336F0F-C0B0-4359-A024-34157601D405}" srcOrd="0" destOrd="0" presId="urn:microsoft.com/office/officeart/2005/8/layout/list1"/>
    <dgm:cxn modelId="{CE45CA95-0EC8-4A77-88A0-F2396C820723}" type="presParOf" srcId="{1D53F12F-51D6-401B-AC52-D7069C6D2CEA}" destId="{786DC47C-60DC-4108-A405-44AF66C8BCCA}" srcOrd="1" destOrd="0" presId="urn:microsoft.com/office/officeart/2005/8/layout/list1"/>
    <dgm:cxn modelId="{6EE8A908-8DC5-41BC-8068-EBE15F404C2B}" type="presParOf" srcId="{A823DC21-2B2F-4CEF-8078-C49192E33B26}" destId="{17DB0FBF-19ED-486B-873F-1D3AB70D9738}" srcOrd="1" destOrd="0" presId="urn:microsoft.com/office/officeart/2005/8/layout/list1"/>
    <dgm:cxn modelId="{E908D97B-A32D-4183-B73E-5ED8685DCF9D}" type="presParOf" srcId="{A823DC21-2B2F-4CEF-8078-C49192E33B26}" destId="{B21C4182-6DAD-4659-A796-E1AED0DB21F3}" srcOrd="2" destOrd="0" presId="urn:microsoft.com/office/officeart/2005/8/layout/list1"/>
  </dgm:cxnLst>
  <dgm:bg/>
  <dgm:whole/>
  <dgm:extLst>
    <a:ext uri="http://schemas.microsoft.com/office/drawing/2008/diagram"/>
  </dgm:extLst>
</dgm:dataModel>
</file>

<file path=ppt/diagrams/data5.xml><?xml version="1.0" encoding="utf-8"?>
<dgm:dataModel xmlns:dgm="http://schemas.openxmlformats.org/drawingml/2006/diagram" xmlns:a="http://schemas.openxmlformats.org/drawingml/2006/main">
  <dgm:ptLst>
    <dgm:pt modelId="{E8A6328F-0F33-422F-AC21-4F04424BCC68}" type="doc">
      <dgm:prSet loTypeId="urn:microsoft.com/office/officeart/2005/8/layout/cycle4#2" loCatId="cycle" qsTypeId="urn:microsoft.com/office/officeart/2005/8/quickstyle/simple1#5" qsCatId="simple" csTypeId="urn:microsoft.com/office/officeart/2005/8/colors/accent4_2" csCatId="accent4" phldr="1"/>
      <dgm:spPr/>
      <dgm:t>
        <a:bodyPr/>
        <a:lstStyle/>
        <a:p>
          <a:endParaRPr lang="es-ES"/>
        </a:p>
      </dgm:t>
    </dgm:pt>
    <dgm:pt modelId="{4342BFC9-DE4C-4C77-9E63-4D92658256BC}">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Business rules</a:t>
          </a:r>
          <a:endParaRPr lang="en-US" b="1" noProof="0" dirty="0">
            <a:solidFill>
              <a:schemeClr val="bg1"/>
            </a:solidFill>
          </a:endParaRPr>
        </a:p>
      </dgm:t>
    </dgm:pt>
    <dgm:pt modelId="{AD68D852-5387-4DB7-9A4E-BC1A5AE0DCA5}" type="parTrans" cxnId="{44B47516-DAFD-4579-848F-CDA8FBAC46DC}">
      <dgm:prSet/>
      <dgm:spPr/>
      <dgm:t>
        <a:bodyPr/>
        <a:lstStyle/>
        <a:p>
          <a:endParaRPr lang="es-ES">
            <a:solidFill>
              <a:schemeClr val="tx1"/>
            </a:solidFill>
          </a:endParaRPr>
        </a:p>
      </dgm:t>
    </dgm:pt>
    <dgm:pt modelId="{89D431B6-FA1B-4B33-8FF3-7B69346C6B2E}" type="sibTrans" cxnId="{44B47516-DAFD-4579-848F-CDA8FBAC46DC}">
      <dgm:prSet/>
      <dgm:spPr/>
      <dgm:t>
        <a:bodyPr/>
        <a:lstStyle/>
        <a:p>
          <a:endParaRPr lang="es-ES">
            <a:solidFill>
              <a:schemeClr val="tx1"/>
            </a:solidFill>
          </a:endParaRPr>
        </a:p>
      </dgm:t>
    </dgm:pt>
    <dgm:pt modelId="{8099D809-2732-46A1-AD6E-BBCA654CA041}">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noProof="0" dirty="0" smtClean="0">
              <a:solidFill>
                <a:schemeClr val="tx1"/>
              </a:solidFill>
            </a:rPr>
            <a:t>Business rules and behavioral patterns</a:t>
          </a:r>
          <a:endParaRPr lang="en-US" sz="1200" noProof="0" dirty="0">
            <a:solidFill>
              <a:schemeClr val="tx1"/>
            </a:solidFill>
          </a:endParaRPr>
        </a:p>
      </dgm:t>
    </dgm:pt>
    <dgm:pt modelId="{24B2B8C4-C574-4DD1-A2C1-65E2B96FE0E4}" type="parTrans" cxnId="{F9D89500-00AA-4A70-835C-FA87B12BBFA6}">
      <dgm:prSet/>
      <dgm:spPr/>
      <dgm:t>
        <a:bodyPr/>
        <a:lstStyle/>
        <a:p>
          <a:endParaRPr lang="es-ES">
            <a:solidFill>
              <a:schemeClr val="tx1"/>
            </a:solidFill>
          </a:endParaRPr>
        </a:p>
      </dgm:t>
    </dgm:pt>
    <dgm:pt modelId="{39F43FFF-9CFD-4CBE-85E1-9A6BA9B674DF}" type="sibTrans" cxnId="{F9D89500-00AA-4A70-835C-FA87B12BBFA6}">
      <dgm:prSet/>
      <dgm:spPr/>
      <dgm:t>
        <a:bodyPr/>
        <a:lstStyle/>
        <a:p>
          <a:endParaRPr lang="es-ES">
            <a:solidFill>
              <a:schemeClr val="tx1"/>
            </a:solidFill>
          </a:endParaRPr>
        </a:p>
      </dgm:t>
    </dgm:pt>
    <dgm:pt modelId="{44023B00-49ED-4AD9-A840-56ECC4527382}">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Networking analysis</a:t>
          </a:r>
          <a:endParaRPr lang="en-US" b="1" noProof="0" dirty="0">
            <a:solidFill>
              <a:schemeClr val="bg1"/>
            </a:solidFill>
          </a:endParaRPr>
        </a:p>
      </dgm:t>
    </dgm:pt>
    <dgm:pt modelId="{916E1941-DC58-40B4-B770-DE67889B8054}" type="parTrans" cxnId="{59B9926E-B482-470D-8E7F-1FD22BEE2FE6}">
      <dgm:prSet/>
      <dgm:spPr/>
      <dgm:t>
        <a:bodyPr/>
        <a:lstStyle/>
        <a:p>
          <a:endParaRPr lang="es-ES">
            <a:solidFill>
              <a:schemeClr val="tx1"/>
            </a:solidFill>
          </a:endParaRPr>
        </a:p>
      </dgm:t>
    </dgm:pt>
    <dgm:pt modelId="{F60DC6B9-4D6A-4503-82F3-930B46742B83}" type="sibTrans" cxnId="{59B9926E-B482-470D-8E7F-1FD22BEE2FE6}">
      <dgm:prSet/>
      <dgm:spPr/>
      <dgm:t>
        <a:bodyPr/>
        <a:lstStyle/>
        <a:p>
          <a:endParaRPr lang="es-ES">
            <a:solidFill>
              <a:schemeClr val="tx1"/>
            </a:solidFill>
          </a:endParaRPr>
        </a:p>
      </dgm:t>
    </dgm:pt>
    <dgm:pt modelId="{E2EAABC2-C6F2-4458-9432-8FFCAF35C71F}">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Predictive models</a:t>
          </a:r>
          <a:endParaRPr lang="en-US" b="1" noProof="0" dirty="0">
            <a:solidFill>
              <a:schemeClr val="bg1"/>
            </a:solidFill>
          </a:endParaRPr>
        </a:p>
      </dgm:t>
    </dgm:pt>
    <dgm:pt modelId="{6D07A98B-4662-4AA2-A32B-284DC94B0BC1}" type="parTrans" cxnId="{BE3B5112-6536-4EBB-BB12-DF5CC41B56BB}">
      <dgm:prSet/>
      <dgm:spPr/>
      <dgm:t>
        <a:bodyPr/>
        <a:lstStyle/>
        <a:p>
          <a:endParaRPr lang="es-ES">
            <a:solidFill>
              <a:schemeClr val="tx1"/>
            </a:solidFill>
          </a:endParaRPr>
        </a:p>
      </dgm:t>
    </dgm:pt>
    <dgm:pt modelId="{D9E93CF7-9683-4740-B8B3-718ED5AD0CAD}" type="sibTrans" cxnId="{BE3B5112-6536-4EBB-BB12-DF5CC41B56BB}">
      <dgm:prSet/>
      <dgm:spPr/>
      <dgm:t>
        <a:bodyPr/>
        <a:lstStyle/>
        <a:p>
          <a:endParaRPr lang="es-ES">
            <a:solidFill>
              <a:schemeClr val="tx1"/>
            </a:solidFill>
          </a:endParaRPr>
        </a:p>
      </dgm:t>
    </dgm:pt>
    <dgm:pt modelId="{8987F7C1-D16E-4A9A-AFC9-4E8DEA98DFF8}">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pPr marL="0" indent="0">
            <a:tabLst/>
          </a:pPr>
          <a:r>
            <a:rPr lang="en-US" sz="1200" noProof="0" dirty="0" smtClean="0"/>
            <a:t>Developing predictive models (logistic regressions) to identify profiles and behavioral patters of fraudulent behavior</a:t>
          </a:r>
          <a:endParaRPr lang="en-US" sz="1200" i="0" noProof="0" dirty="0">
            <a:solidFill>
              <a:schemeClr val="tx1"/>
            </a:solidFill>
          </a:endParaRPr>
        </a:p>
      </dgm:t>
    </dgm:pt>
    <dgm:pt modelId="{F5C0E9A6-F85F-4980-8425-C1EB3BA69D69}" type="parTrans" cxnId="{0C3D857C-0C54-47B4-B5D7-211F3C881D82}">
      <dgm:prSet/>
      <dgm:spPr/>
      <dgm:t>
        <a:bodyPr/>
        <a:lstStyle/>
        <a:p>
          <a:endParaRPr lang="es-ES">
            <a:solidFill>
              <a:schemeClr val="tx1"/>
            </a:solidFill>
          </a:endParaRPr>
        </a:p>
      </dgm:t>
    </dgm:pt>
    <dgm:pt modelId="{44F763AA-65BD-4C3B-B9FD-88C7495CF55E}" type="sibTrans" cxnId="{0C3D857C-0C54-47B4-B5D7-211F3C881D82}">
      <dgm:prSet/>
      <dgm:spPr/>
      <dgm:t>
        <a:bodyPr/>
        <a:lstStyle/>
        <a:p>
          <a:endParaRPr lang="es-ES">
            <a:solidFill>
              <a:schemeClr val="tx1"/>
            </a:solidFill>
          </a:endParaRPr>
        </a:p>
      </dgm:t>
    </dgm:pt>
    <dgm:pt modelId="{AE840A31-B72E-4DE0-9219-E83712E8371B}">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Advanced indicators</a:t>
          </a:r>
          <a:endParaRPr lang="en-US" b="1" noProof="0" dirty="0">
            <a:solidFill>
              <a:schemeClr val="bg1"/>
            </a:solidFill>
          </a:endParaRPr>
        </a:p>
      </dgm:t>
    </dgm:pt>
    <dgm:pt modelId="{B933DC24-D313-453B-A187-B025461DE0A1}" type="parTrans" cxnId="{9B400CF2-A4D3-414D-9504-C05528171C19}">
      <dgm:prSet/>
      <dgm:spPr/>
      <dgm:t>
        <a:bodyPr/>
        <a:lstStyle/>
        <a:p>
          <a:endParaRPr lang="es-ES">
            <a:solidFill>
              <a:schemeClr val="tx1"/>
            </a:solidFill>
          </a:endParaRPr>
        </a:p>
      </dgm:t>
    </dgm:pt>
    <dgm:pt modelId="{9AB6C2E2-B782-4A99-859B-1FA8252BD63D}" type="sibTrans" cxnId="{9B400CF2-A4D3-414D-9504-C05528171C19}">
      <dgm:prSet/>
      <dgm:spPr/>
      <dgm:t>
        <a:bodyPr/>
        <a:lstStyle/>
        <a:p>
          <a:endParaRPr lang="es-ES">
            <a:solidFill>
              <a:schemeClr val="tx1"/>
            </a:solidFill>
          </a:endParaRPr>
        </a:p>
      </dgm:t>
    </dgm:pt>
    <dgm:pt modelId="{BDB5E699-038E-432F-899B-0D1340440905}">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i="0" noProof="0" dirty="0" smtClean="0">
              <a:solidFill>
                <a:schemeClr val="tx1"/>
              </a:solidFill>
            </a:rPr>
            <a:t>Occupational and </a:t>
          </a:r>
          <a:r>
            <a:rPr lang="en-US" sz="1200" i="0" noProof="0" dirty="0" err="1" smtClean="0">
              <a:solidFill>
                <a:schemeClr val="tx1"/>
              </a:solidFill>
            </a:rPr>
            <a:t>sociodemographic</a:t>
          </a:r>
          <a:r>
            <a:rPr lang="en-US" sz="1200" i="0" noProof="0" dirty="0" smtClean="0">
              <a:solidFill>
                <a:schemeClr val="tx1"/>
              </a:solidFill>
            </a:rPr>
            <a:t> analysis of workers to estimate the potential risk in a fraudulent situation</a:t>
          </a:r>
          <a:endParaRPr lang="en-US" sz="1200" i="0" noProof="0" dirty="0">
            <a:solidFill>
              <a:schemeClr val="tx1"/>
            </a:solidFill>
          </a:endParaRPr>
        </a:p>
      </dgm:t>
    </dgm:pt>
    <dgm:pt modelId="{3494F8FA-9706-46AD-AAA7-10F72468862A}" type="parTrans" cxnId="{334B4178-3D4B-4D35-9339-AA22B52FF9D6}">
      <dgm:prSet/>
      <dgm:spPr/>
      <dgm:t>
        <a:bodyPr/>
        <a:lstStyle/>
        <a:p>
          <a:endParaRPr lang="es-ES">
            <a:solidFill>
              <a:schemeClr val="tx1"/>
            </a:solidFill>
          </a:endParaRPr>
        </a:p>
      </dgm:t>
    </dgm:pt>
    <dgm:pt modelId="{68562659-E61D-445B-B36B-DB405732CCEB}" type="sibTrans" cxnId="{334B4178-3D4B-4D35-9339-AA22B52FF9D6}">
      <dgm:prSet/>
      <dgm:spPr/>
      <dgm:t>
        <a:bodyPr/>
        <a:lstStyle/>
        <a:p>
          <a:endParaRPr lang="es-ES">
            <a:solidFill>
              <a:schemeClr val="tx1"/>
            </a:solidFill>
          </a:endParaRPr>
        </a:p>
      </dgm:t>
    </dgm:pt>
    <dgm:pt modelId="{859DDAF1-DA01-4AFF-8D09-3CAC43AACB7C}">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noProof="0" dirty="0" smtClean="0">
              <a:solidFill>
                <a:schemeClr val="tx1"/>
              </a:solidFill>
            </a:rPr>
            <a:t>Pairing companies with fake businesses identified in the past</a:t>
          </a:r>
          <a:endParaRPr lang="en-US" sz="1200" noProof="0" dirty="0">
            <a:solidFill>
              <a:schemeClr val="tx1"/>
            </a:solidFill>
          </a:endParaRPr>
        </a:p>
      </dgm:t>
    </dgm:pt>
    <dgm:pt modelId="{E192F6FE-41AA-45EB-8EF0-CB8F1B48B9D2}" type="sibTrans" cxnId="{18DE9D07-94E2-4F09-9743-8886C83F2F25}">
      <dgm:prSet/>
      <dgm:spPr/>
      <dgm:t>
        <a:bodyPr/>
        <a:lstStyle/>
        <a:p>
          <a:endParaRPr lang="es-ES">
            <a:solidFill>
              <a:schemeClr val="tx1"/>
            </a:solidFill>
          </a:endParaRPr>
        </a:p>
      </dgm:t>
    </dgm:pt>
    <dgm:pt modelId="{83388A4C-6F21-4F07-B699-62EE3B1C4C20}" type="parTrans" cxnId="{18DE9D07-94E2-4F09-9743-8886C83F2F25}">
      <dgm:prSet/>
      <dgm:spPr/>
      <dgm:t>
        <a:bodyPr/>
        <a:lstStyle/>
        <a:p>
          <a:endParaRPr lang="es-ES">
            <a:solidFill>
              <a:schemeClr val="tx1"/>
            </a:solidFill>
          </a:endParaRPr>
        </a:p>
      </dgm:t>
    </dgm:pt>
    <dgm:pt modelId="{31FC8FDE-A604-4707-9667-832053C773E0}" type="pres">
      <dgm:prSet presAssocID="{E8A6328F-0F33-422F-AC21-4F04424BCC68}" presName="cycleMatrixDiagram" presStyleCnt="0">
        <dgm:presLayoutVars>
          <dgm:chMax val="1"/>
          <dgm:dir/>
          <dgm:animLvl val="lvl"/>
          <dgm:resizeHandles val="exact"/>
        </dgm:presLayoutVars>
      </dgm:prSet>
      <dgm:spPr/>
      <dgm:t>
        <a:bodyPr/>
        <a:lstStyle/>
        <a:p>
          <a:endParaRPr lang="es-ES"/>
        </a:p>
      </dgm:t>
    </dgm:pt>
    <dgm:pt modelId="{994B1CD8-6DA9-491F-868B-4547FA4FC537}" type="pres">
      <dgm:prSet presAssocID="{E8A6328F-0F33-422F-AC21-4F04424BCC68}" presName="children" presStyleCnt="0"/>
      <dgm:spPr/>
    </dgm:pt>
    <dgm:pt modelId="{FCA06443-EC61-450F-818B-5FB891508BFD}" type="pres">
      <dgm:prSet presAssocID="{E8A6328F-0F33-422F-AC21-4F04424BCC68}" presName="child1group" presStyleCnt="0"/>
      <dgm:spPr/>
    </dgm:pt>
    <dgm:pt modelId="{2A2CB4BB-D3A5-4B40-9938-8C7338B2EDEB}" type="pres">
      <dgm:prSet presAssocID="{E8A6328F-0F33-422F-AC21-4F04424BCC68}" presName="child1" presStyleLbl="bgAcc1" presStyleIdx="0" presStyleCnt="4" custScaleX="188326" custLinFactNeighborX="-23961"/>
      <dgm:spPr/>
      <dgm:t>
        <a:bodyPr/>
        <a:lstStyle/>
        <a:p>
          <a:endParaRPr lang="es-ES"/>
        </a:p>
      </dgm:t>
    </dgm:pt>
    <dgm:pt modelId="{1EF5012F-FE29-4240-BCE5-F318A80C9319}" type="pres">
      <dgm:prSet presAssocID="{E8A6328F-0F33-422F-AC21-4F04424BCC68}" presName="child1Text" presStyleLbl="bgAcc1" presStyleIdx="0" presStyleCnt="4">
        <dgm:presLayoutVars>
          <dgm:bulletEnabled val="1"/>
        </dgm:presLayoutVars>
      </dgm:prSet>
      <dgm:spPr/>
      <dgm:t>
        <a:bodyPr/>
        <a:lstStyle/>
        <a:p>
          <a:endParaRPr lang="es-ES"/>
        </a:p>
      </dgm:t>
    </dgm:pt>
    <dgm:pt modelId="{F62B4035-7308-4EFF-AF29-66D552FDCAD0}" type="pres">
      <dgm:prSet presAssocID="{E8A6328F-0F33-422F-AC21-4F04424BCC68}" presName="child2group" presStyleCnt="0"/>
      <dgm:spPr/>
    </dgm:pt>
    <dgm:pt modelId="{136990B0-E263-4BC8-BAEB-F26CECDF3B73}" type="pres">
      <dgm:prSet presAssocID="{E8A6328F-0F33-422F-AC21-4F04424BCC68}" presName="child2" presStyleLbl="bgAcc1" presStyleIdx="1" presStyleCnt="4" custScaleX="195909" custLinFactNeighborX="30494"/>
      <dgm:spPr/>
      <dgm:t>
        <a:bodyPr/>
        <a:lstStyle/>
        <a:p>
          <a:endParaRPr lang="es-ES"/>
        </a:p>
      </dgm:t>
    </dgm:pt>
    <dgm:pt modelId="{9D2089C0-C496-4D00-9549-852F8A67678F}" type="pres">
      <dgm:prSet presAssocID="{E8A6328F-0F33-422F-AC21-4F04424BCC68}" presName="child2Text" presStyleLbl="bgAcc1" presStyleIdx="1" presStyleCnt="4">
        <dgm:presLayoutVars>
          <dgm:bulletEnabled val="1"/>
        </dgm:presLayoutVars>
      </dgm:prSet>
      <dgm:spPr/>
      <dgm:t>
        <a:bodyPr/>
        <a:lstStyle/>
        <a:p>
          <a:endParaRPr lang="es-ES"/>
        </a:p>
      </dgm:t>
    </dgm:pt>
    <dgm:pt modelId="{9AC0A99D-54AC-44BA-A64F-66369BD5225A}" type="pres">
      <dgm:prSet presAssocID="{E8A6328F-0F33-422F-AC21-4F04424BCC68}" presName="child3group" presStyleCnt="0"/>
      <dgm:spPr/>
    </dgm:pt>
    <dgm:pt modelId="{D60D27F6-BEA5-4721-A21C-B830B5C8B1B7}" type="pres">
      <dgm:prSet presAssocID="{E8A6328F-0F33-422F-AC21-4F04424BCC68}" presName="child3" presStyleLbl="bgAcc1" presStyleIdx="2" presStyleCnt="4" custScaleX="195909" custScaleY="118186" custLinFactNeighborX="30494" custLinFactNeighborY="-10777"/>
      <dgm:spPr/>
      <dgm:t>
        <a:bodyPr/>
        <a:lstStyle/>
        <a:p>
          <a:endParaRPr lang="es-ES"/>
        </a:p>
      </dgm:t>
    </dgm:pt>
    <dgm:pt modelId="{BB674437-9C2E-4F02-AEC6-198DEA0539E1}" type="pres">
      <dgm:prSet presAssocID="{E8A6328F-0F33-422F-AC21-4F04424BCC68}" presName="child3Text" presStyleLbl="bgAcc1" presStyleIdx="2" presStyleCnt="4">
        <dgm:presLayoutVars>
          <dgm:bulletEnabled val="1"/>
        </dgm:presLayoutVars>
      </dgm:prSet>
      <dgm:spPr/>
      <dgm:t>
        <a:bodyPr/>
        <a:lstStyle/>
        <a:p>
          <a:endParaRPr lang="es-ES"/>
        </a:p>
      </dgm:t>
    </dgm:pt>
    <dgm:pt modelId="{A34B7541-5DB2-4920-B3D1-C6014DFB53D7}" type="pres">
      <dgm:prSet presAssocID="{E8A6328F-0F33-422F-AC21-4F04424BCC68}" presName="child4group" presStyleCnt="0"/>
      <dgm:spPr/>
    </dgm:pt>
    <dgm:pt modelId="{1123D10F-A8F5-4AAC-8D56-8EFD069EC422}" type="pres">
      <dgm:prSet presAssocID="{E8A6328F-0F33-422F-AC21-4F04424BCC68}" presName="child4" presStyleLbl="bgAcc1" presStyleIdx="3" presStyleCnt="4" custScaleX="185827" custScaleY="119778" custLinFactNeighborX="-23961" custLinFactNeighborY="-11255"/>
      <dgm:spPr/>
      <dgm:t>
        <a:bodyPr/>
        <a:lstStyle/>
        <a:p>
          <a:endParaRPr lang="es-ES"/>
        </a:p>
      </dgm:t>
    </dgm:pt>
    <dgm:pt modelId="{571D90F4-EE85-48A5-8B8D-364B7279832D}" type="pres">
      <dgm:prSet presAssocID="{E8A6328F-0F33-422F-AC21-4F04424BCC68}" presName="child4Text" presStyleLbl="bgAcc1" presStyleIdx="3" presStyleCnt="4">
        <dgm:presLayoutVars>
          <dgm:bulletEnabled val="1"/>
        </dgm:presLayoutVars>
      </dgm:prSet>
      <dgm:spPr/>
      <dgm:t>
        <a:bodyPr/>
        <a:lstStyle/>
        <a:p>
          <a:endParaRPr lang="es-ES"/>
        </a:p>
      </dgm:t>
    </dgm:pt>
    <dgm:pt modelId="{4F50D1BB-60B3-4CA0-B445-CD2EFB52E5A4}" type="pres">
      <dgm:prSet presAssocID="{E8A6328F-0F33-422F-AC21-4F04424BCC68}" presName="childPlaceholder" presStyleCnt="0"/>
      <dgm:spPr/>
    </dgm:pt>
    <dgm:pt modelId="{AFC9CE6F-9852-4152-BE54-C9FA32AB3768}" type="pres">
      <dgm:prSet presAssocID="{E8A6328F-0F33-422F-AC21-4F04424BCC68}" presName="circle" presStyleCnt="0"/>
      <dgm:spPr/>
    </dgm:pt>
    <dgm:pt modelId="{2D2DE741-3E84-49CF-A74E-86D216D37C39}" type="pres">
      <dgm:prSet presAssocID="{E8A6328F-0F33-422F-AC21-4F04424BCC68}" presName="quadrant1" presStyleLbl="node1" presStyleIdx="0" presStyleCnt="4">
        <dgm:presLayoutVars>
          <dgm:chMax val="1"/>
          <dgm:bulletEnabled val="1"/>
        </dgm:presLayoutVars>
      </dgm:prSet>
      <dgm:spPr/>
      <dgm:t>
        <a:bodyPr/>
        <a:lstStyle/>
        <a:p>
          <a:endParaRPr lang="es-ES"/>
        </a:p>
      </dgm:t>
    </dgm:pt>
    <dgm:pt modelId="{3219FEF4-57C6-4932-AD62-070E921451A0}" type="pres">
      <dgm:prSet presAssocID="{E8A6328F-0F33-422F-AC21-4F04424BCC68}" presName="quadrant2" presStyleLbl="node1" presStyleIdx="1" presStyleCnt="4">
        <dgm:presLayoutVars>
          <dgm:chMax val="1"/>
          <dgm:bulletEnabled val="1"/>
        </dgm:presLayoutVars>
      </dgm:prSet>
      <dgm:spPr/>
      <dgm:t>
        <a:bodyPr/>
        <a:lstStyle/>
        <a:p>
          <a:endParaRPr lang="es-ES"/>
        </a:p>
      </dgm:t>
    </dgm:pt>
    <dgm:pt modelId="{4EB25AE1-DEC7-4922-8CBE-AEA15998FE86}" type="pres">
      <dgm:prSet presAssocID="{E8A6328F-0F33-422F-AC21-4F04424BCC68}" presName="quadrant3" presStyleLbl="node1" presStyleIdx="2" presStyleCnt="4">
        <dgm:presLayoutVars>
          <dgm:chMax val="1"/>
          <dgm:bulletEnabled val="1"/>
        </dgm:presLayoutVars>
      </dgm:prSet>
      <dgm:spPr/>
      <dgm:t>
        <a:bodyPr/>
        <a:lstStyle/>
        <a:p>
          <a:endParaRPr lang="es-ES"/>
        </a:p>
      </dgm:t>
    </dgm:pt>
    <dgm:pt modelId="{0FCB9D0A-13E0-4DF6-A189-DB2DF25C21C6}" type="pres">
      <dgm:prSet presAssocID="{E8A6328F-0F33-422F-AC21-4F04424BCC68}" presName="quadrant4" presStyleLbl="node1" presStyleIdx="3" presStyleCnt="4">
        <dgm:presLayoutVars>
          <dgm:chMax val="1"/>
          <dgm:bulletEnabled val="1"/>
        </dgm:presLayoutVars>
      </dgm:prSet>
      <dgm:spPr/>
      <dgm:t>
        <a:bodyPr/>
        <a:lstStyle/>
        <a:p>
          <a:endParaRPr lang="es-ES"/>
        </a:p>
      </dgm:t>
    </dgm:pt>
    <dgm:pt modelId="{72B1548B-1DCA-41FB-8029-CCC7AFFD11C3}" type="pres">
      <dgm:prSet presAssocID="{E8A6328F-0F33-422F-AC21-4F04424BCC68}" presName="quadrantPlaceholder" presStyleCnt="0"/>
      <dgm:spPr/>
    </dgm:pt>
    <dgm:pt modelId="{8562DB9D-A1B3-45DD-927E-0AA241A0897E}" type="pres">
      <dgm:prSet presAssocID="{E8A6328F-0F33-422F-AC21-4F04424BCC68}" presName="center1" presStyleLbl="fgShp" presStyleIdx="0" presStyleCnt="2"/>
      <dgm:spPr/>
    </dgm:pt>
    <dgm:pt modelId="{6A18F98D-C96E-4BCC-A672-CE60D69CD678}" type="pres">
      <dgm:prSet presAssocID="{E8A6328F-0F33-422F-AC21-4F04424BCC68}" presName="center2" presStyleLbl="fgShp" presStyleIdx="1" presStyleCnt="2"/>
      <dgm:spPr/>
    </dgm:pt>
  </dgm:ptLst>
  <dgm:cxnLst>
    <dgm:cxn modelId="{9B400CF2-A4D3-414D-9504-C05528171C19}" srcId="{E8A6328F-0F33-422F-AC21-4F04424BCC68}" destId="{AE840A31-B72E-4DE0-9219-E83712E8371B}" srcOrd="3" destOrd="0" parTransId="{B933DC24-D313-453B-A187-B025461DE0A1}" sibTransId="{9AB6C2E2-B782-4A99-859B-1FA8252BD63D}"/>
    <dgm:cxn modelId="{F7A59251-EAB3-4C82-B79F-79A436F153EA}" type="presOf" srcId="{8099D809-2732-46A1-AD6E-BBCA654CA041}" destId="{2A2CB4BB-D3A5-4B40-9938-8C7338B2EDEB}" srcOrd="0" destOrd="0" presId="urn:microsoft.com/office/officeart/2005/8/layout/cycle4#2"/>
    <dgm:cxn modelId="{2F18300E-C74B-4DBF-B545-100109A3B8A1}" type="presOf" srcId="{BDB5E699-038E-432F-899B-0D1340440905}" destId="{1123D10F-A8F5-4AAC-8D56-8EFD069EC422}" srcOrd="0" destOrd="0" presId="urn:microsoft.com/office/officeart/2005/8/layout/cycle4#2"/>
    <dgm:cxn modelId="{980DFAF2-D418-4228-A53D-5E9EAED08E8B}" type="presOf" srcId="{BDB5E699-038E-432F-899B-0D1340440905}" destId="{571D90F4-EE85-48A5-8B8D-364B7279832D}" srcOrd="1" destOrd="0" presId="urn:microsoft.com/office/officeart/2005/8/layout/cycle4#2"/>
    <dgm:cxn modelId="{5D2DB5D2-4211-426B-BC4A-B95E26813AB5}" type="presOf" srcId="{E2EAABC2-C6F2-4458-9432-8FFCAF35C71F}" destId="{4EB25AE1-DEC7-4922-8CBE-AEA15998FE86}" srcOrd="0" destOrd="0" presId="urn:microsoft.com/office/officeart/2005/8/layout/cycle4#2"/>
    <dgm:cxn modelId="{8713B836-CAFA-401A-B880-8C59238FD71A}" type="presOf" srcId="{44023B00-49ED-4AD9-A840-56ECC4527382}" destId="{3219FEF4-57C6-4932-AD62-070E921451A0}" srcOrd="0" destOrd="0" presId="urn:microsoft.com/office/officeart/2005/8/layout/cycle4#2"/>
    <dgm:cxn modelId="{DCAEAA18-6F59-4934-A487-39A6B91E90E3}" type="presOf" srcId="{AE840A31-B72E-4DE0-9219-E83712E8371B}" destId="{0FCB9D0A-13E0-4DF6-A189-DB2DF25C21C6}" srcOrd="0" destOrd="0" presId="urn:microsoft.com/office/officeart/2005/8/layout/cycle4#2"/>
    <dgm:cxn modelId="{97BAD07D-788D-406E-8EBC-6DED86F97AFD}" type="presOf" srcId="{859DDAF1-DA01-4AFF-8D09-3CAC43AACB7C}" destId="{9D2089C0-C496-4D00-9549-852F8A67678F}" srcOrd="1" destOrd="0" presId="urn:microsoft.com/office/officeart/2005/8/layout/cycle4#2"/>
    <dgm:cxn modelId="{179DAF36-68E7-40D9-B1D5-B6D6B9A1D496}" type="presOf" srcId="{4342BFC9-DE4C-4C77-9E63-4D92658256BC}" destId="{2D2DE741-3E84-49CF-A74E-86D216D37C39}" srcOrd="0" destOrd="0" presId="urn:microsoft.com/office/officeart/2005/8/layout/cycle4#2"/>
    <dgm:cxn modelId="{AE88B52C-B460-4E54-A15F-AD5EB33C9769}" type="presOf" srcId="{E8A6328F-0F33-422F-AC21-4F04424BCC68}" destId="{31FC8FDE-A604-4707-9667-832053C773E0}" srcOrd="0" destOrd="0" presId="urn:microsoft.com/office/officeart/2005/8/layout/cycle4#2"/>
    <dgm:cxn modelId="{59B9926E-B482-470D-8E7F-1FD22BEE2FE6}" srcId="{E8A6328F-0F33-422F-AC21-4F04424BCC68}" destId="{44023B00-49ED-4AD9-A840-56ECC4527382}" srcOrd="1" destOrd="0" parTransId="{916E1941-DC58-40B4-B770-DE67889B8054}" sibTransId="{F60DC6B9-4D6A-4503-82F3-930B46742B83}"/>
    <dgm:cxn modelId="{CA25F08D-2D55-44C3-9474-0539A917410D}" type="presOf" srcId="{8987F7C1-D16E-4A9A-AFC9-4E8DEA98DFF8}" destId="{BB674437-9C2E-4F02-AEC6-198DEA0539E1}" srcOrd="1" destOrd="0" presId="urn:microsoft.com/office/officeart/2005/8/layout/cycle4#2"/>
    <dgm:cxn modelId="{BE3B5112-6536-4EBB-BB12-DF5CC41B56BB}" srcId="{E8A6328F-0F33-422F-AC21-4F04424BCC68}" destId="{E2EAABC2-C6F2-4458-9432-8FFCAF35C71F}" srcOrd="2" destOrd="0" parTransId="{6D07A98B-4662-4AA2-A32B-284DC94B0BC1}" sibTransId="{D9E93CF7-9683-4740-B8B3-718ED5AD0CAD}"/>
    <dgm:cxn modelId="{F9D89500-00AA-4A70-835C-FA87B12BBFA6}" srcId="{4342BFC9-DE4C-4C77-9E63-4D92658256BC}" destId="{8099D809-2732-46A1-AD6E-BBCA654CA041}" srcOrd="0" destOrd="0" parTransId="{24B2B8C4-C574-4DD1-A2C1-65E2B96FE0E4}" sibTransId="{39F43FFF-9CFD-4CBE-85E1-9A6BA9B674DF}"/>
    <dgm:cxn modelId="{D2EA58DF-19C0-4047-A36F-72A49AB3B5E4}" type="presOf" srcId="{859DDAF1-DA01-4AFF-8D09-3CAC43AACB7C}" destId="{136990B0-E263-4BC8-BAEB-F26CECDF3B73}" srcOrd="0" destOrd="0" presId="urn:microsoft.com/office/officeart/2005/8/layout/cycle4#2"/>
    <dgm:cxn modelId="{18DE9D07-94E2-4F09-9743-8886C83F2F25}" srcId="{44023B00-49ED-4AD9-A840-56ECC4527382}" destId="{859DDAF1-DA01-4AFF-8D09-3CAC43AACB7C}" srcOrd="0" destOrd="0" parTransId="{83388A4C-6F21-4F07-B699-62EE3B1C4C20}" sibTransId="{E192F6FE-41AA-45EB-8EF0-CB8F1B48B9D2}"/>
    <dgm:cxn modelId="{44B47516-DAFD-4579-848F-CDA8FBAC46DC}" srcId="{E8A6328F-0F33-422F-AC21-4F04424BCC68}" destId="{4342BFC9-DE4C-4C77-9E63-4D92658256BC}" srcOrd="0" destOrd="0" parTransId="{AD68D852-5387-4DB7-9A4E-BC1A5AE0DCA5}" sibTransId="{89D431B6-FA1B-4B33-8FF3-7B69346C6B2E}"/>
    <dgm:cxn modelId="{93BCAE78-C6B0-4900-83EC-4DD6B75F60B6}" type="presOf" srcId="{8987F7C1-D16E-4A9A-AFC9-4E8DEA98DFF8}" destId="{D60D27F6-BEA5-4721-A21C-B830B5C8B1B7}" srcOrd="0" destOrd="0" presId="urn:microsoft.com/office/officeart/2005/8/layout/cycle4#2"/>
    <dgm:cxn modelId="{334B4178-3D4B-4D35-9339-AA22B52FF9D6}" srcId="{AE840A31-B72E-4DE0-9219-E83712E8371B}" destId="{BDB5E699-038E-432F-899B-0D1340440905}" srcOrd="0" destOrd="0" parTransId="{3494F8FA-9706-46AD-AAA7-10F72468862A}" sibTransId="{68562659-E61D-445B-B36B-DB405732CCEB}"/>
    <dgm:cxn modelId="{0C3D857C-0C54-47B4-B5D7-211F3C881D82}" srcId="{E2EAABC2-C6F2-4458-9432-8FFCAF35C71F}" destId="{8987F7C1-D16E-4A9A-AFC9-4E8DEA98DFF8}" srcOrd="0" destOrd="0" parTransId="{F5C0E9A6-F85F-4980-8425-C1EB3BA69D69}" sibTransId="{44F763AA-65BD-4C3B-B9FD-88C7495CF55E}"/>
    <dgm:cxn modelId="{97051CE9-E0DF-4233-BBCC-D041F85F02A3}" type="presOf" srcId="{8099D809-2732-46A1-AD6E-BBCA654CA041}" destId="{1EF5012F-FE29-4240-BCE5-F318A80C9319}" srcOrd="1" destOrd="0" presId="urn:microsoft.com/office/officeart/2005/8/layout/cycle4#2"/>
    <dgm:cxn modelId="{9E2A75CA-83B6-4133-A3D7-52F5E51B9B31}" type="presParOf" srcId="{31FC8FDE-A604-4707-9667-832053C773E0}" destId="{994B1CD8-6DA9-491F-868B-4547FA4FC537}" srcOrd="0" destOrd="0" presId="urn:microsoft.com/office/officeart/2005/8/layout/cycle4#2"/>
    <dgm:cxn modelId="{EBB329C7-922F-433C-AA12-160615AAB3B6}" type="presParOf" srcId="{994B1CD8-6DA9-491F-868B-4547FA4FC537}" destId="{FCA06443-EC61-450F-818B-5FB891508BFD}" srcOrd="0" destOrd="0" presId="urn:microsoft.com/office/officeart/2005/8/layout/cycle4#2"/>
    <dgm:cxn modelId="{1FA2D7BC-6903-469C-A2C0-C03DB3F2C84F}" type="presParOf" srcId="{FCA06443-EC61-450F-818B-5FB891508BFD}" destId="{2A2CB4BB-D3A5-4B40-9938-8C7338B2EDEB}" srcOrd="0" destOrd="0" presId="urn:microsoft.com/office/officeart/2005/8/layout/cycle4#2"/>
    <dgm:cxn modelId="{294F894E-19C4-4174-B915-8F7C45B2373C}" type="presParOf" srcId="{FCA06443-EC61-450F-818B-5FB891508BFD}" destId="{1EF5012F-FE29-4240-BCE5-F318A80C9319}" srcOrd="1" destOrd="0" presId="urn:microsoft.com/office/officeart/2005/8/layout/cycle4#2"/>
    <dgm:cxn modelId="{88E5ABD5-7F08-471E-80D1-6CCDEFB52FD9}" type="presParOf" srcId="{994B1CD8-6DA9-491F-868B-4547FA4FC537}" destId="{F62B4035-7308-4EFF-AF29-66D552FDCAD0}" srcOrd="1" destOrd="0" presId="urn:microsoft.com/office/officeart/2005/8/layout/cycle4#2"/>
    <dgm:cxn modelId="{79F54366-C37E-49DA-A796-C60DFBFED4F3}" type="presParOf" srcId="{F62B4035-7308-4EFF-AF29-66D552FDCAD0}" destId="{136990B0-E263-4BC8-BAEB-F26CECDF3B73}" srcOrd="0" destOrd="0" presId="urn:microsoft.com/office/officeart/2005/8/layout/cycle4#2"/>
    <dgm:cxn modelId="{A20F5B52-2DA3-411C-8AD1-8C774A27D37B}" type="presParOf" srcId="{F62B4035-7308-4EFF-AF29-66D552FDCAD0}" destId="{9D2089C0-C496-4D00-9549-852F8A67678F}" srcOrd="1" destOrd="0" presId="urn:microsoft.com/office/officeart/2005/8/layout/cycle4#2"/>
    <dgm:cxn modelId="{7F0CF2DC-F2B8-446F-B12F-2837FFD91ECF}" type="presParOf" srcId="{994B1CD8-6DA9-491F-868B-4547FA4FC537}" destId="{9AC0A99D-54AC-44BA-A64F-66369BD5225A}" srcOrd="2" destOrd="0" presId="urn:microsoft.com/office/officeart/2005/8/layout/cycle4#2"/>
    <dgm:cxn modelId="{1BFCD0C0-50D8-46AD-AD1B-783EC267F51D}" type="presParOf" srcId="{9AC0A99D-54AC-44BA-A64F-66369BD5225A}" destId="{D60D27F6-BEA5-4721-A21C-B830B5C8B1B7}" srcOrd="0" destOrd="0" presId="urn:microsoft.com/office/officeart/2005/8/layout/cycle4#2"/>
    <dgm:cxn modelId="{99FD070B-1534-4FA7-82D4-21BE41B5603C}" type="presParOf" srcId="{9AC0A99D-54AC-44BA-A64F-66369BD5225A}" destId="{BB674437-9C2E-4F02-AEC6-198DEA0539E1}" srcOrd="1" destOrd="0" presId="urn:microsoft.com/office/officeart/2005/8/layout/cycle4#2"/>
    <dgm:cxn modelId="{680FB3ED-4C4A-4F5E-AF73-0E39AEE09865}" type="presParOf" srcId="{994B1CD8-6DA9-491F-868B-4547FA4FC537}" destId="{A34B7541-5DB2-4920-B3D1-C6014DFB53D7}" srcOrd="3" destOrd="0" presId="urn:microsoft.com/office/officeart/2005/8/layout/cycle4#2"/>
    <dgm:cxn modelId="{788F38D1-1C6B-4375-83F4-FB797C8674B0}" type="presParOf" srcId="{A34B7541-5DB2-4920-B3D1-C6014DFB53D7}" destId="{1123D10F-A8F5-4AAC-8D56-8EFD069EC422}" srcOrd="0" destOrd="0" presId="urn:microsoft.com/office/officeart/2005/8/layout/cycle4#2"/>
    <dgm:cxn modelId="{689A544F-C5DA-491E-BA80-1370B14DFE28}" type="presParOf" srcId="{A34B7541-5DB2-4920-B3D1-C6014DFB53D7}" destId="{571D90F4-EE85-48A5-8B8D-364B7279832D}" srcOrd="1" destOrd="0" presId="urn:microsoft.com/office/officeart/2005/8/layout/cycle4#2"/>
    <dgm:cxn modelId="{752E0F64-E2AD-46CB-8018-34FEB91532A1}" type="presParOf" srcId="{994B1CD8-6DA9-491F-868B-4547FA4FC537}" destId="{4F50D1BB-60B3-4CA0-B445-CD2EFB52E5A4}" srcOrd="4" destOrd="0" presId="urn:microsoft.com/office/officeart/2005/8/layout/cycle4#2"/>
    <dgm:cxn modelId="{FCB42072-7FB1-4749-A23B-11591F44F208}" type="presParOf" srcId="{31FC8FDE-A604-4707-9667-832053C773E0}" destId="{AFC9CE6F-9852-4152-BE54-C9FA32AB3768}" srcOrd="1" destOrd="0" presId="urn:microsoft.com/office/officeart/2005/8/layout/cycle4#2"/>
    <dgm:cxn modelId="{E57ABC15-0A72-413C-9F28-78FACA0EECF6}" type="presParOf" srcId="{AFC9CE6F-9852-4152-BE54-C9FA32AB3768}" destId="{2D2DE741-3E84-49CF-A74E-86D216D37C39}" srcOrd="0" destOrd="0" presId="urn:microsoft.com/office/officeart/2005/8/layout/cycle4#2"/>
    <dgm:cxn modelId="{5C972853-EF4E-42A1-A393-07DFE74DBB08}" type="presParOf" srcId="{AFC9CE6F-9852-4152-BE54-C9FA32AB3768}" destId="{3219FEF4-57C6-4932-AD62-070E921451A0}" srcOrd="1" destOrd="0" presId="urn:microsoft.com/office/officeart/2005/8/layout/cycle4#2"/>
    <dgm:cxn modelId="{478FD158-727B-4663-9A75-885A665422CD}" type="presParOf" srcId="{AFC9CE6F-9852-4152-BE54-C9FA32AB3768}" destId="{4EB25AE1-DEC7-4922-8CBE-AEA15998FE86}" srcOrd="2" destOrd="0" presId="urn:microsoft.com/office/officeart/2005/8/layout/cycle4#2"/>
    <dgm:cxn modelId="{9A9A2808-2F4C-43AA-A554-5181E502132C}" type="presParOf" srcId="{AFC9CE6F-9852-4152-BE54-C9FA32AB3768}" destId="{0FCB9D0A-13E0-4DF6-A189-DB2DF25C21C6}" srcOrd="3" destOrd="0" presId="urn:microsoft.com/office/officeart/2005/8/layout/cycle4#2"/>
    <dgm:cxn modelId="{7A7DA5E9-FB8D-4A72-A74A-7408984FC2F9}" type="presParOf" srcId="{AFC9CE6F-9852-4152-BE54-C9FA32AB3768}" destId="{72B1548B-1DCA-41FB-8029-CCC7AFFD11C3}" srcOrd="4" destOrd="0" presId="urn:microsoft.com/office/officeart/2005/8/layout/cycle4#2"/>
    <dgm:cxn modelId="{9AFF219A-59D1-43FE-B858-B78CAA2A9BBF}" type="presParOf" srcId="{31FC8FDE-A604-4707-9667-832053C773E0}" destId="{8562DB9D-A1B3-45DD-927E-0AA241A0897E}" srcOrd="2" destOrd="0" presId="urn:microsoft.com/office/officeart/2005/8/layout/cycle4#2"/>
    <dgm:cxn modelId="{B31C6B7D-EA80-4C36-89A6-6868300F1F35}" type="presParOf" srcId="{31FC8FDE-A604-4707-9667-832053C773E0}" destId="{6A18F98D-C96E-4BCC-A672-CE60D69CD678}" srcOrd="3" destOrd="0" presId="urn:microsoft.com/office/officeart/2005/8/layout/cycle4#2"/>
  </dgm:cxnLst>
  <dgm:bg/>
  <dgm:whole/>
  <dgm:extLst>
    <a:ext uri="http://schemas.microsoft.com/office/drawing/2008/diagram"/>
  </dgm:extLst>
</dgm:dataModel>
</file>

<file path=ppt/diagrams/data6.xml><?xml version="1.0" encoding="utf-8"?>
<dgm:dataModel xmlns:dgm="http://schemas.openxmlformats.org/drawingml/2006/diagram" xmlns:a="http://schemas.openxmlformats.org/drawingml/2006/main">
  <dgm:ptLst>
    <dgm:pt modelId="{C63443AB-B073-4D57-8E4D-4B2AC597E83B}" type="doc">
      <dgm:prSet loTypeId="urn:microsoft.com/office/officeart/2005/8/layout/hChevron3" loCatId="process" qsTypeId="urn:microsoft.com/office/officeart/2005/8/quickstyle/simple1#6" qsCatId="simple" csTypeId="urn:microsoft.com/office/officeart/2005/8/colors/accent1_2#3" csCatId="accent1" phldr="1"/>
      <dgm:spPr/>
    </dgm:pt>
    <dgm:pt modelId="{F03A3789-3A12-4F88-B6C8-302EB5262A39}">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Definition</a:t>
          </a:r>
        </a:p>
        <a:p>
          <a:endParaRPr lang="en-US" sz="1200" b="1" noProof="0" dirty="0" smtClean="0">
            <a:solidFill>
              <a:schemeClr val="tx1"/>
            </a:solidFill>
          </a:endParaRPr>
        </a:p>
        <a:p>
          <a:r>
            <a:rPr lang="en-US" sz="1200" noProof="0" dirty="0" smtClean="0">
              <a:solidFill>
                <a:schemeClr val="tx1"/>
              </a:solidFill>
            </a:rPr>
            <a:t>(Jun 2014)</a:t>
          </a:r>
          <a:endParaRPr lang="en-US" sz="1200" noProof="0" dirty="0">
            <a:solidFill>
              <a:schemeClr val="tx1"/>
            </a:solidFill>
          </a:endParaRPr>
        </a:p>
      </dgm:t>
    </dgm:pt>
    <dgm:pt modelId="{5438398B-F38A-45BF-8C03-3AA2B6149F67}" type="parTrans" cxnId="{77443D68-C65C-47E5-B5B9-773EFBE12BC6}">
      <dgm:prSet/>
      <dgm:spPr/>
      <dgm:t>
        <a:bodyPr/>
        <a:lstStyle/>
        <a:p>
          <a:endParaRPr lang="es-ES"/>
        </a:p>
      </dgm:t>
    </dgm:pt>
    <dgm:pt modelId="{F2923D17-5A0B-4AB0-89CD-A1638ED651CA}" type="sibTrans" cxnId="{77443D68-C65C-47E5-B5B9-773EFBE12BC6}">
      <dgm:prSet/>
      <dgm:spPr/>
      <dgm:t>
        <a:bodyPr/>
        <a:lstStyle/>
        <a:p>
          <a:endParaRPr lang="es-ES"/>
        </a:p>
      </dgm:t>
    </dgm:pt>
    <dgm:pt modelId="{2C0E9308-D0D1-4432-897B-07899FDDBC01}">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Qualitative phase</a:t>
          </a:r>
        </a:p>
        <a:p>
          <a:r>
            <a:rPr lang="en-US" sz="1200" noProof="0" dirty="0" smtClean="0">
              <a:solidFill>
                <a:schemeClr val="tx1"/>
              </a:solidFill>
            </a:rPr>
            <a:t>(Jul 2014)</a:t>
          </a:r>
          <a:endParaRPr lang="en-US" sz="1200" noProof="0" dirty="0">
            <a:solidFill>
              <a:schemeClr val="tx1"/>
            </a:solidFill>
          </a:endParaRPr>
        </a:p>
      </dgm:t>
    </dgm:pt>
    <dgm:pt modelId="{B5092109-FED7-4C2E-A2F4-C71F9DC8342D}" type="parTrans" cxnId="{CA699AEA-5E96-418F-8E8D-FB511125A769}">
      <dgm:prSet/>
      <dgm:spPr/>
      <dgm:t>
        <a:bodyPr/>
        <a:lstStyle/>
        <a:p>
          <a:endParaRPr lang="es-ES"/>
        </a:p>
      </dgm:t>
    </dgm:pt>
    <dgm:pt modelId="{AB86F82E-92DF-4888-BC03-D333772F0C34}" type="sibTrans" cxnId="{CA699AEA-5E96-418F-8E8D-FB511125A769}">
      <dgm:prSet/>
      <dgm:spPr/>
      <dgm:t>
        <a:bodyPr/>
        <a:lstStyle/>
        <a:p>
          <a:endParaRPr lang="es-ES"/>
        </a:p>
      </dgm:t>
    </dgm:pt>
    <dgm:pt modelId="{0FA4FFDA-60CE-4F78-8243-FB52CB3899C4}">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Fieldwork</a:t>
          </a:r>
        </a:p>
        <a:p>
          <a:r>
            <a:rPr lang="en-US" sz="1200" noProof="0" dirty="0" smtClean="0">
              <a:solidFill>
                <a:schemeClr val="tx1"/>
              </a:solidFill>
            </a:rPr>
            <a:t>(Sept-Oct 2014)</a:t>
          </a:r>
          <a:endParaRPr lang="en-US" sz="1200" noProof="0" dirty="0">
            <a:solidFill>
              <a:schemeClr val="tx1"/>
            </a:solidFill>
          </a:endParaRPr>
        </a:p>
      </dgm:t>
    </dgm:pt>
    <dgm:pt modelId="{0B7670DE-92D9-4FC3-843C-F75FDAC31C9A}" type="parTrans" cxnId="{E7DEDF54-32A4-4B4D-B41C-7BB77C8686C8}">
      <dgm:prSet/>
      <dgm:spPr/>
      <dgm:t>
        <a:bodyPr/>
        <a:lstStyle/>
        <a:p>
          <a:endParaRPr lang="es-ES"/>
        </a:p>
      </dgm:t>
    </dgm:pt>
    <dgm:pt modelId="{7FDFBBD3-7C27-40F3-B4A8-29C59C8871E0}" type="sibTrans" cxnId="{E7DEDF54-32A4-4B4D-B41C-7BB77C8686C8}">
      <dgm:prSet/>
      <dgm:spPr/>
      <dgm:t>
        <a:bodyPr/>
        <a:lstStyle/>
        <a:p>
          <a:endParaRPr lang="es-ES"/>
        </a:p>
      </dgm:t>
    </dgm:pt>
    <dgm:pt modelId="{605D5AFF-6A98-47D4-9D83-7B173C41A92B}">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Research and Analysis</a:t>
          </a:r>
        </a:p>
        <a:p>
          <a:r>
            <a:rPr lang="en-US" sz="1200" noProof="0" dirty="0" smtClean="0">
              <a:solidFill>
                <a:schemeClr val="tx1"/>
              </a:solidFill>
            </a:rPr>
            <a:t>(Nov-Dec 2014)</a:t>
          </a:r>
          <a:endParaRPr lang="en-US" sz="1200" noProof="0" dirty="0">
            <a:solidFill>
              <a:schemeClr val="tx1"/>
            </a:solidFill>
          </a:endParaRPr>
        </a:p>
      </dgm:t>
    </dgm:pt>
    <dgm:pt modelId="{049B6830-828A-4D94-A1D9-59C94BFA0541}" type="parTrans" cxnId="{650A076D-A94B-4D13-9C4C-B6AE1D597DFF}">
      <dgm:prSet/>
      <dgm:spPr/>
      <dgm:t>
        <a:bodyPr/>
        <a:lstStyle/>
        <a:p>
          <a:endParaRPr lang="es-ES"/>
        </a:p>
      </dgm:t>
    </dgm:pt>
    <dgm:pt modelId="{95D167DF-7621-4313-B3B5-02698E438F1E}" type="sibTrans" cxnId="{650A076D-A94B-4D13-9C4C-B6AE1D597DFF}">
      <dgm:prSet/>
      <dgm:spPr/>
      <dgm:t>
        <a:bodyPr/>
        <a:lstStyle/>
        <a:p>
          <a:endParaRPr lang="es-ES"/>
        </a:p>
      </dgm:t>
    </dgm:pt>
    <dgm:pt modelId="{8877D9C1-5E4D-4022-9C67-7EFDE5BE4BD6}">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Fieldwork report</a:t>
          </a:r>
        </a:p>
        <a:p>
          <a:r>
            <a:rPr lang="en-US" sz="1200" noProof="0" dirty="0" smtClean="0">
              <a:solidFill>
                <a:schemeClr val="tx1"/>
              </a:solidFill>
            </a:rPr>
            <a:t>(Jan 2015)</a:t>
          </a:r>
          <a:endParaRPr lang="en-US" sz="1200" noProof="0" dirty="0">
            <a:solidFill>
              <a:schemeClr val="tx1"/>
            </a:solidFill>
          </a:endParaRPr>
        </a:p>
      </dgm:t>
    </dgm:pt>
    <dgm:pt modelId="{4483D50C-145C-4354-8F6A-AA7461E4568D}" type="sibTrans" cxnId="{8D58BA9D-D0BC-4D65-AC90-EF10924CD002}">
      <dgm:prSet/>
      <dgm:spPr/>
      <dgm:t>
        <a:bodyPr/>
        <a:lstStyle/>
        <a:p>
          <a:endParaRPr lang="es-ES"/>
        </a:p>
      </dgm:t>
    </dgm:pt>
    <dgm:pt modelId="{A04C8270-FA2D-4211-83BC-2E5E2BF1F056}" type="parTrans" cxnId="{8D58BA9D-D0BC-4D65-AC90-EF10924CD002}">
      <dgm:prSet/>
      <dgm:spPr/>
      <dgm:t>
        <a:bodyPr/>
        <a:lstStyle/>
        <a:p>
          <a:endParaRPr lang="es-ES"/>
        </a:p>
      </dgm:t>
    </dgm:pt>
    <dgm:pt modelId="{23FE3FB0-95ED-4338-A6B9-7A1265E78412}" type="pres">
      <dgm:prSet presAssocID="{C63443AB-B073-4D57-8E4D-4B2AC597E83B}" presName="Name0" presStyleCnt="0">
        <dgm:presLayoutVars>
          <dgm:dir/>
          <dgm:resizeHandles val="exact"/>
        </dgm:presLayoutVars>
      </dgm:prSet>
      <dgm:spPr/>
    </dgm:pt>
    <dgm:pt modelId="{E7E452C3-8125-46AE-AF71-CD20369AA400}" type="pres">
      <dgm:prSet presAssocID="{F03A3789-3A12-4F88-B6C8-302EB5262A39}" presName="parTxOnly" presStyleLbl="node1" presStyleIdx="0" presStyleCnt="5">
        <dgm:presLayoutVars>
          <dgm:bulletEnabled val="1"/>
        </dgm:presLayoutVars>
      </dgm:prSet>
      <dgm:spPr/>
      <dgm:t>
        <a:bodyPr/>
        <a:lstStyle/>
        <a:p>
          <a:endParaRPr lang="es-ES"/>
        </a:p>
      </dgm:t>
    </dgm:pt>
    <dgm:pt modelId="{32F14A6A-238D-4394-85C7-281295DD05FD}" type="pres">
      <dgm:prSet presAssocID="{F2923D17-5A0B-4AB0-89CD-A1638ED651CA}" presName="parSpace" presStyleCnt="0"/>
      <dgm:spPr/>
    </dgm:pt>
    <dgm:pt modelId="{E9075FA1-62DA-4524-968C-DA7EA5981C6B}" type="pres">
      <dgm:prSet presAssocID="{2C0E9308-D0D1-4432-897B-07899FDDBC01}" presName="parTxOnly" presStyleLbl="node1" presStyleIdx="1" presStyleCnt="5">
        <dgm:presLayoutVars>
          <dgm:bulletEnabled val="1"/>
        </dgm:presLayoutVars>
      </dgm:prSet>
      <dgm:spPr/>
      <dgm:t>
        <a:bodyPr/>
        <a:lstStyle/>
        <a:p>
          <a:endParaRPr lang="es-ES"/>
        </a:p>
      </dgm:t>
    </dgm:pt>
    <dgm:pt modelId="{7B63521A-8760-43F5-9F89-442447A547DB}" type="pres">
      <dgm:prSet presAssocID="{AB86F82E-92DF-4888-BC03-D333772F0C34}" presName="parSpace" presStyleCnt="0"/>
      <dgm:spPr/>
    </dgm:pt>
    <dgm:pt modelId="{E098B051-B13A-469A-A3CD-15C83357BF1E}" type="pres">
      <dgm:prSet presAssocID="{0FA4FFDA-60CE-4F78-8243-FB52CB3899C4}" presName="parTxOnly" presStyleLbl="node1" presStyleIdx="2" presStyleCnt="5">
        <dgm:presLayoutVars>
          <dgm:bulletEnabled val="1"/>
        </dgm:presLayoutVars>
      </dgm:prSet>
      <dgm:spPr/>
      <dgm:t>
        <a:bodyPr/>
        <a:lstStyle/>
        <a:p>
          <a:endParaRPr lang="es-ES"/>
        </a:p>
      </dgm:t>
    </dgm:pt>
    <dgm:pt modelId="{E77D61AD-4754-40F6-AA30-104339248574}" type="pres">
      <dgm:prSet presAssocID="{7FDFBBD3-7C27-40F3-B4A8-29C59C8871E0}" presName="parSpace" presStyleCnt="0"/>
      <dgm:spPr/>
    </dgm:pt>
    <dgm:pt modelId="{74927839-04EC-4428-8BE8-A76FEB271287}" type="pres">
      <dgm:prSet presAssocID="{605D5AFF-6A98-47D4-9D83-7B173C41A92B}" presName="parTxOnly" presStyleLbl="node1" presStyleIdx="3" presStyleCnt="5">
        <dgm:presLayoutVars>
          <dgm:bulletEnabled val="1"/>
        </dgm:presLayoutVars>
      </dgm:prSet>
      <dgm:spPr/>
      <dgm:t>
        <a:bodyPr/>
        <a:lstStyle/>
        <a:p>
          <a:endParaRPr lang="es-ES"/>
        </a:p>
      </dgm:t>
    </dgm:pt>
    <dgm:pt modelId="{A4F86950-46F6-4ABD-8F84-7A2E7C7811A1}" type="pres">
      <dgm:prSet presAssocID="{95D167DF-7621-4313-B3B5-02698E438F1E}" presName="parSpace" presStyleCnt="0"/>
      <dgm:spPr/>
    </dgm:pt>
    <dgm:pt modelId="{D44F5D21-DD36-46EA-BD47-A370E4A4A5C0}" type="pres">
      <dgm:prSet presAssocID="{8877D9C1-5E4D-4022-9C67-7EFDE5BE4BD6}" presName="parTxOnly" presStyleLbl="node1" presStyleIdx="4" presStyleCnt="5">
        <dgm:presLayoutVars>
          <dgm:bulletEnabled val="1"/>
        </dgm:presLayoutVars>
      </dgm:prSet>
      <dgm:spPr/>
      <dgm:t>
        <a:bodyPr/>
        <a:lstStyle/>
        <a:p>
          <a:endParaRPr lang="es-ES"/>
        </a:p>
      </dgm:t>
    </dgm:pt>
  </dgm:ptLst>
  <dgm:cxnLst>
    <dgm:cxn modelId="{8D58BA9D-D0BC-4D65-AC90-EF10924CD002}" srcId="{C63443AB-B073-4D57-8E4D-4B2AC597E83B}" destId="{8877D9C1-5E4D-4022-9C67-7EFDE5BE4BD6}" srcOrd="4" destOrd="0" parTransId="{A04C8270-FA2D-4211-83BC-2E5E2BF1F056}" sibTransId="{4483D50C-145C-4354-8F6A-AA7461E4568D}"/>
    <dgm:cxn modelId="{650A076D-A94B-4D13-9C4C-B6AE1D597DFF}" srcId="{C63443AB-B073-4D57-8E4D-4B2AC597E83B}" destId="{605D5AFF-6A98-47D4-9D83-7B173C41A92B}" srcOrd="3" destOrd="0" parTransId="{049B6830-828A-4D94-A1D9-59C94BFA0541}" sibTransId="{95D167DF-7621-4313-B3B5-02698E438F1E}"/>
    <dgm:cxn modelId="{20545C59-EAA4-429C-BB92-3F7869C8DD1B}" type="presOf" srcId="{C63443AB-B073-4D57-8E4D-4B2AC597E83B}" destId="{23FE3FB0-95ED-4338-A6B9-7A1265E78412}" srcOrd="0" destOrd="0" presId="urn:microsoft.com/office/officeart/2005/8/layout/hChevron3"/>
    <dgm:cxn modelId="{CA699AEA-5E96-418F-8E8D-FB511125A769}" srcId="{C63443AB-B073-4D57-8E4D-4B2AC597E83B}" destId="{2C0E9308-D0D1-4432-897B-07899FDDBC01}" srcOrd="1" destOrd="0" parTransId="{B5092109-FED7-4C2E-A2F4-C71F9DC8342D}" sibTransId="{AB86F82E-92DF-4888-BC03-D333772F0C34}"/>
    <dgm:cxn modelId="{5B4D35DD-6D3C-4CE2-80D2-B9F08BFEBE34}" type="presOf" srcId="{F03A3789-3A12-4F88-B6C8-302EB5262A39}" destId="{E7E452C3-8125-46AE-AF71-CD20369AA400}" srcOrd="0" destOrd="0" presId="urn:microsoft.com/office/officeart/2005/8/layout/hChevron3"/>
    <dgm:cxn modelId="{BBA739BD-E4D1-4D0D-8E1C-109CEA509DDE}" type="presOf" srcId="{2C0E9308-D0D1-4432-897B-07899FDDBC01}" destId="{E9075FA1-62DA-4524-968C-DA7EA5981C6B}" srcOrd="0" destOrd="0" presId="urn:microsoft.com/office/officeart/2005/8/layout/hChevron3"/>
    <dgm:cxn modelId="{585BC45E-FBFA-45BF-BED9-56F5B269EC8D}" type="presOf" srcId="{0FA4FFDA-60CE-4F78-8243-FB52CB3899C4}" destId="{E098B051-B13A-469A-A3CD-15C83357BF1E}" srcOrd="0" destOrd="0" presId="urn:microsoft.com/office/officeart/2005/8/layout/hChevron3"/>
    <dgm:cxn modelId="{5E6E35AA-2026-4A44-8AC3-D6D43BB9D29D}" type="presOf" srcId="{8877D9C1-5E4D-4022-9C67-7EFDE5BE4BD6}" destId="{D44F5D21-DD36-46EA-BD47-A370E4A4A5C0}" srcOrd="0" destOrd="0" presId="urn:microsoft.com/office/officeart/2005/8/layout/hChevron3"/>
    <dgm:cxn modelId="{77443D68-C65C-47E5-B5B9-773EFBE12BC6}" srcId="{C63443AB-B073-4D57-8E4D-4B2AC597E83B}" destId="{F03A3789-3A12-4F88-B6C8-302EB5262A39}" srcOrd="0" destOrd="0" parTransId="{5438398B-F38A-45BF-8C03-3AA2B6149F67}" sibTransId="{F2923D17-5A0B-4AB0-89CD-A1638ED651CA}"/>
    <dgm:cxn modelId="{4585B41D-40B8-4001-8344-61504FE43E71}" type="presOf" srcId="{605D5AFF-6A98-47D4-9D83-7B173C41A92B}" destId="{74927839-04EC-4428-8BE8-A76FEB271287}" srcOrd="0" destOrd="0" presId="urn:microsoft.com/office/officeart/2005/8/layout/hChevron3"/>
    <dgm:cxn modelId="{E7DEDF54-32A4-4B4D-B41C-7BB77C8686C8}" srcId="{C63443AB-B073-4D57-8E4D-4B2AC597E83B}" destId="{0FA4FFDA-60CE-4F78-8243-FB52CB3899C4}" srcOrd="2" destOrd="0" parTransId="{0B7670DE-92D9-4FC3-843C-F75FDAC31C9A}" sibTransId="{7FDFBBD3-7C27-40F3-B4A8-29C59C8871E0}"/>
    <dgm:cxn modelId="{FD583ABD-6FB7-42BD-9CE2-7E4AC607D3B4}" type="presParOf" srcId="{23FE3FB0-95ED-4338-A6B9-7A1265E78412}" destId="{E7E452C3-8125-46AE-AF71-CD20369AA400}" srcOrd="0" destOrd="0" presId="urn:microsoft.com/office/officeart/2005/8/layout/hChevron3"/>
    <dgm:cxn modelId="{CC4F02B0-A2BC-4A7A-86AE-9E766CBD75F9}" type="presParOf" srcId="{23FE3FB0-95ED-4338-A6B9-7A1265E78412}" destId="{32F14A6A-238D-4394-85C7-281295DD05FD}" srcOrd="1" destOrd="0" presId="urn:microsoft.com/office/officeart/2005/8/layout/hChevron3"/>
    <dgm:cxn modelId="{DA128364-7C24-4F59-A55B-A8C8FB48755E}" type="presParOf" srcId="{23FE3FB0-95ED-4338-A6B9-7A1265E78412}" destId="{E9075FA1-62DA-4524-968C-DA7EA5981C6B}" srcOrd="2" destOrd="0" presId="urn:microsoft.com/office/officeart/2005/8/layout/hChevron3"/>
    <dgm:cxn modelId="{C402F48A-B6BA-4947-85A2-810EBD921495}" type="presParOf" srcId="{23FE3FB0-95ED-4338-A6B9-7A1265E78412}" destId="{7B63521A-8760-43F5-9F89-442447A547DB}" srcOrd="3" destOrd="0" presId="urn:microsoft.com/office/officeart/2005/8/layout/hChevron3"/>
    <dgm:cxn modelId="{19DF5DD9-DFA3-4E13-8C25-3CC5261B82DD}" type="presParOf" srcId="{23FE3FB0-95ED-4338-A6B9-7A1265E78412}" destId="{E098B051-B13A-469A-A3CD-15C83357BF1E}" srcOrd="4" destOrd="0" presId="urn:microsoft.com/office/officeart/2005/8/layout/hChevron3"/>
    <dgm:cxn modelId="{F7F24774-B58C-4BB0-99C5-0491D6C38391}" type="presParOf" srcId="{23FE3FB0-95ED-4338-A6B9-7A1265E78412}" destId="{E77D61AD-4754-40F6-AA30-104339248574}" srcOrd="5" destOrd="0" presId="urn:microsoft.com/office/officeart/2005/8/layout/hChevron3"/>
    <dgm:cxn modelId="{35FC636A-E815-46DF-9625-216C93D7C08B}" type="presParOf" srcId="{23FE3FB0-95ED-4338-A6B9-7A1265E78412}" destId="{74927839-04EC-4428-8BE8-A76FEB271287}" srcOrd="6" destOrd="0" presId="urn:microsoft.com/office/officeart/2005/8/layout/hChevron3"/>
    <dgm:cxn modelId="{1C845F8D-1EA9-4DB6-B994-0C337080B9D1}" type="presParOf" srcId="{23FE3FB0-95ED-4338-A6B9-7A1265E78412}" destId="{A4F86950-46F6-4ABD-8F84-7A2E7C7811A1}" srcOrd="7" destOrd="0" presId="urn:microsoft.com/office/officeart/2005/8/layout/hChevron3"/>
    <dgm:cxn modelId="{1001C5CA-5201-4BAD-B39A-9F7FC9EC33C6}" type="presParOf" srcId="{23FE3FB0-95ED-4338-A6B9-7A1265E78412}" destId="{D44F5D21-DD36-46EA-BD47-A370E4A4A5C0}" srcOrd="8" destOrd="0" presId="urn:microsoft.com/office/officeart/2005/8/layout/hChevron3"/>
  </dgm:cxnLst>
  <dgm:bg>
    <a:noFill/>
  </dgm:bg>
  <dgm:whole>
    <a:ln>
      <a:noFill/>
    </a:ln>
  </dgm:whole>
  <dgm:extLst>
    <a:ext uri="http://schemas.microsoft.com/office/drawing/2008/diagram"/>
  </dgm:extLst>
</dgm:dataModel>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4#2">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4B5EB658-6164-47FF-847F-1D9964B7A25B}" type="datetimeFigureOut">
              <a:rPr lang="en-US"/>
              <a:pPr>
                <a:defRPr/>
              </a:pPr>
              <a:t>9/23/2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C2797009-49E5-49D7-AAA9-983B440FF74F}" type="slidenum">
              <a:rPr lang="en-US"/>
              <a:pPr>
                <a:defRPr/>
              </a:pPr>
              <a:t>‹Nº›</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6BEF55BE-B209-4247-85FD-291A55EF9473}" type="datetimeFigureOut">
              <a:rPr lang="en-US"/>
              <a:pPr>
                <a:defRPr/>
              </a:pPr>
              <a:t>9/23/2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DF38D3E4-1868-4B68-A955-D529F204AC14}" type="slidenum">
              <a:rPr lang="en-US"/>
              <a:pPr>
                <a:defRPr/>
              </a:pPr>
              <a:t>‹Nº›</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025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760258"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p:oleObj spid="_x0000_s1818625" name="think-cell Slide" r:id="rId5" imgW="0" imgH="0" progId="">
              <p:embed/>
            </p:oleObj>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8541FAB-20E3-4D04-870D-C9B020AABBAD}" type="datetimeFigureOut">
              <a:rPr lang="it-IT"/>
              <a:pPr>
                <a:defRPr/>
              </a:pPr>
              <a:t>23/09/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77883101-EE2E-4FFE-B508-95DD9C39FA01}"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C012FAA-B7D4-47D9-9D1E-E154E69E2641}" type="datetimeFigureOut">
              <a:rPr lang="it-IT"/>
              <a:pPr>
                <a:defRPr/>
              </a:pPr>
              <a:t>23/09/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686402B0-5985-44CD-B45E-F653CA301B81}"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95300" y="6356350"/>
            <a:ext cx="2311400" cy="365125"/>
          </a:xfrm>
        </p:spPr>
        <p:txBody>
          <a:bodyPr/>
          <a:lstStyle>
            <a:lvl1pPr>
              <a:defRPr/>
            </a:lvl1pPr>
          </a:lstStyle>
          <a:p>
            <a:pPr>
              <a:defRPr/>
            </a:pPr>
            <a:fld id="{84DC62A9-DA92-4B98-812F-D67E00AFB206}" type="datetimeFigureOut">
              <a:rPr lang="it-IT"/>
              <a:pPr>
                <a:defRPr/>
              </a:pPr>
              <a:t>23/09/2015</a:t>
            </a:fld>
            <a:endParaRPr lang="it-IT" dirty="0"/>
          </a:p>
        </p:txBody>
      </p:sp>
      <p:sp>
        <p:nvSpPr>
          <p:cNvPr id="3" name="Marcador de número de diapositiva 2"/>
          <p:cNvSpPr>
            <a:spLocks noGrp="1"/>
          </p:cNvSpPr>
          <p:nvPr>
            <p:ph type="sldNum" sz="quarter" idx="11"/>
          </p:nvPr>
        </p:nvSpPr>
        <p:spPr>
          <a:xfrm>
            <a:off x="7099300" y="6356350"/>
            <a:ext cx="2311400" cy="365125"/>
          </a:xfrm>
        </p:spPr>
        <p:txBody>
          <a:bodyPr/>
          <a:lstStyle>
            <a:lvl1pPr>
              <a:defRPr/>
            </a:lvl1pPr>
          </a:lstStyle>
          <a:p>
            <a:pPr>
              <a:defRPr/>
            </a:pPr>
            <a:fld id="{1AF50FBE-EDA5-4E57-AB6E-31CBA0AF8261}" type="slidenum">
              <a:rPr lang="it-IT"/>
              <a:pPr>
                <a:defRPr/>
              </a:pPr>
              <a:t>‹Nº›</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B510A87A-D0AF-4155-9B56-81AA62BF4F33}" type="datetimeFigureOut">
              <a:rPr lang="it-IT"/>
              <a:pPr>
                <a:defRPr/>
              </a:pPr>
              <a:t>23/09/2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E6BE294E-5579-4E53-A458-E8003BC82AC1}" type="slidenum">
              <a:rPr lang="it-IT"/>
              <a:pPr>
                <a:defRPr/>
              </a:pPr>
              <a:t>‹Nº›</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5A94B4D5-4CF5-463D-8341-990B0B7EFCB4}" type="datetimeFigureOut">
              <a:rPr lang="it-IT"/>
              <a:pPr>
                <a:defRPr/>
              </a:pPr>
              <a:t>23/09/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C45773BF-23F6-4607-A565-59BB091B4897}"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9C561FC0-37B2-46E1-BC55-3C6529173514}" type="datetimeFigureOut">
              <a:rPr lang="it-IT"/>
              <a:pPr>
                <a:defRPr/>
              </a:pPr>
              <a:t>23/09/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78BB72CF-F390-4AC7-AF85-BFBDAF6B1C7D}"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pPr>
              <a:defRPr/>
            </a:pPr>
            <a:fld id="{45817829-0D76-4136-A419-60325C735A54}" type="datetimeFigureOut">
              <a:rPr lang="it-IT"/>
              <a:pPr>
                <a:defRPr/>
              </a:pPr>
              <a:t>23/09/2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pPr>
              <a:defRPr/>
            </a:pPr>
            <a:fld id="{102F38B7-6530-465E-9F73-D0252426DAAD}"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pPr>
              <a:defRPr/>
            </a:pPr>
            <a:fld id="{D1DE6BEC-8EB7-454D-925E-F8C5FE1123B5}" type="datetimeFigureOut">
              <a:rPr lang="it-IT"/>
              <a:pPr>
                <a:defRPr/>
              </a:pPr>
              <a:t>23/09/2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atin typeface="Optane" pitchFamily="2" charset="0"/>
              </a:defRPr>
            </a:lvl1pPr>
          </a:lstStyle>
          <a:p>
            <a:pPr>
              <a:defRPr/>
            </a:pPr>
            <a:fld id="{F9AAF037-BDF6-4A14-9BC1-2A18A9E4C02E}"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pPr>
              <a:defRPr/>
            </a:pPr>
            <a:fld id="{4A25C5B8-57AB-4758-8BBD-ABE5B157AA01}" type="datetimeFigureOut">
              <a:rPr lang="it-IT"/>
              <a:pPr>
                <a:defRPr/>
              </a:pPr>
              <a:t>23/09/2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pPr>
              <a:defRPr/>
            </a:pPr>
            <a:fld id="{EF107E9D-D70A-461C-BBA2-8A56686DF032}"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3396B4DA-B954-4886-9569-2B24F6856FA3}" type="datetimeFigureOut">
              <a:rPr lang="it-IT"/>
              <a:pPr>
                <a:defRPr/>
              </a:pPr>
              <a:t>23/09/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07013972-8A6F-4174-A4E9-EED82828B984}"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E7A21133-9570-41C9-AC9B-5BF24E241EC3}" type="datetimeFigureOut">
              <a:rPr lang="it-IT"/>
              <a:pPr>
                <a:defRPr/>
              </a:pPr>
              <a:t>23/09/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2A471951-ADF5-4B12-9421-1AB023DADD10}"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a:defRPr/>
            </a:pPr>
            <a:fld id="{5D5F293B-5666-42DC-BA69-759AD51419A8}" type="datetimeFigureOut">
              <a:rPr lang="it-IT"/>
              <a:pPr>
                <a:defRPr/>
              </a:pPr>
              <a:t>23/09/2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a:defRPr/>
            </a:pPr>
            <a:fld id="{46CF1D5D-1970-4AFE-9B1D-3D118743742B}" type="slidenum">
              <a:rPr lang="it-IT"/>
              <a:pPr>
                <a:defRPr/>
              </a:pPr>
              <a:t>‹Nº›</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EDD387B2-5159-4CF1-9D64-5E4FA3EB141A}" type="slidenum">
              <a:rPr lang="en-US" sz="1100">
                <a:solidFill>
                  <a:srgbClr val="000000"/>
                </a:solidFill>
                <a:latin typeface="Optane" pitchFamily="2" charset="0"/>
              </a:rPr>
              <a:pPr>
                <a:defRPr/>
              </a:pPr>
              <a:t>‹Nº›</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5"/>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4" r:id="rId1"/>
    <p:sldLayoutId id="2147483682"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83" r:id="rId13"/>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pitchFamily="2" charset="0"/>
        </a:defRPr>
      </a:lvl2pPr>
      <a:lvl3pPr algn="l" rtl="0" eaLnBrk="0" fontAlgn="base" hangingPunct="0">
        <a:spcBef>
          <a:spcPct val="0"/>
        </a:spcBef>
        <a:spcAft>
          <a:spcPct val="0"/>
        </a:spcAft>
        <a:defRPr sz="2000" b="1">
          <a:solidFill>
            <a:schemeClr val="tx1"/>
          </a:solidFill>
          <a:latin typeface="Optane" pitchFamily="2" charset="0"/>
        </a:defRPr>
      </a:lvl3pPr>
      <a:lvl4pPr algn="l" rtl="0" eaLnBrk="0" fontAlgn="base" hangingPunct="0">
        <a:spcBef>
          <a:spcPct val="0"/>
        </a:spcBef>
        <a:spcAft>
          <a:spcPct val="0"/>
        </a:spcAft>
        <a:defRPr sz="2000" b="1">
          <a:solidFill>
            <a:schemeClr val="tx1"/>
          </a:solidFill>
          <a:latin typeface="Optane" pitchFamily="2" charset="0"/>
        </a:defRPr>
      </a:lvl4pPr>
      <a:lvl5pPr algn="l" rtl="0" eaLnBrk="0" fontAlgn="base" hangingPunct="0">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4.xml"/><Relationship Id="rId3" Type="http://schemas.openxmlformats.org/officeDocument/2006/relationships/diagramLayout" Target="../diagrams/layout3.xml"/><Relationship Id="rId7" Type="http://schemas.openxmlformats.org/officeDocument/2006/relationships/diagramLayout" Target="../diagrams/layout4.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openxmlformats.org/officeDocument/2006/relationships/diagramData" Target="../diagrams/data4.xml"/><Relationship Id="rId5" Type="http://schemas.openxmlformats.org/officeDocument/2006/relationships/diagramColors" Target="../diagrams/colors3.xml"/><Relationship Id="rId4" Type="http://schemas.openxmlformats.org/officeDocument/2006/relationships/diagramQuickStyle" Target="../diagrams/quickStyle3.xml"/><Relationship Id="rId9" Type="http://schemas.openxmlformats.org/officeDocument/2006/relationships/diagramColors" Target="../diagrams/colors4.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3.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3.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950" y="4021138"/>
            <a:ext cx="9001125" cy="2224087"/>
          </a:xfrm>
          <a:prstGeom prst="rect">
            <a:avLst/>
          </a:prstGeom>
        </p:spPr>
        <p:txBody>
          <a:bodyPr lIns="36000" tIns="0" rIns="36000" bIns="0">
            <a:spAutoFit/>
          </a:bodyPr>
          <a:lstStyle/>
          <a:p>
            <a:pPr algn="ctr" defTabSz="457200" eaLnBrk="0" hangingPunct="0">
              <a:spcAft>
                <a:spcPts val="1200"/>
              </a:spcAft>
              <a:buClr>
                <a:srgbClr val="FFC000"/>
              </a:buClr>
              <a:buSzPct val="85000"/>
            </a:pPr>
            <a:endParaRPr lang="es-ES" sz="800" b="1" noProof="1">
              <a:solidFill>
                <a:srgbClr val="262626"/>
              </a:solidFill>
              <a:latin typeface="Optane" pitchFamily="2" charset="0"/>
            </a:endParaRPr>
          </a:p>
          <a:p>
            <a:pPr algn="ctr" defTabSz="457200" eaLnBrk="0" hangingPunct="0">
              <a:spcAft>
                <a:spcPts val="1200"/>
              </a:spcAft>
              <a:buClr>
                <a:srgbClr val="FFC000"/>
              </a:buClr>
              <a:buSzPct val="85000"/>
            </a:pPr>
            <a:r>
              <a:rPr lang="en-US" altLang="zh-CN" sz="2400" b="1">
                <a:latin typeface="Optane" pitchFamily="2" charset="0"/>
              </a:rPr>
              <a:t>Prevention and fight against fraud in General treasury of the Social Security </a:t>
            </a:r>
          </a:p>
          <a:p>
            <a:pPr algn="ctr" defTabSz="457200" eaLnBrk="0" hangingPunct="0">
              <a:spcAft>
                <a:spcPts val="1200"/>
              </a:spcAft>
              <a:buClr>
                <a:srgbClr val="FFC000"/>
              </a:buClr>
              <a:buSzPct val="85000"/>
            </a:pPr>
            <a:r>
              <a:rPr lang="en-US" altLang="zh-CN" sz="2000" b="1">
                <a:latin typeface="Optane" pitchFamily="2" charset="0"/>
              </a:rPr>
              <a:t> </a:t>
            </a:r>
            <a:r>
              <a:rPr lang="en-US" altLang="zh-CN" sz="2000">
                <a:latin typeface="Optane" pitchFamily="2" charset="0"/>
              </a:rPr>
              <a:t>Mr. José Luis Encinas, Head of Unit of Inspection and Prevention in the Sub Directorate General of Period Collection in voluntary </a:t>
            </a:r>
          </a:p>
          <a:p>
            <a:pPr algn="ctr" defTabSz="457200" eaLnBrk="0" hangingPunct="0">
              <a:spcAft>
                <a:spcPts val="1200"/>
              </a:spcAft>
              <a:buClr>
                <a:srgbClr val="FFC000"/>
              </a:buClr>
              <a:buSzPct val="85000"/>
            </a:pPr>
            <a:r>
              <a:rPr lang="en-US" altLang="zh-CN" sz="2000" b="1">
                <a:latin typeface="Optane" pitchFamily="2" charset="0"/>
              </a:rPr>
              <a:t>Madrid, 29th October 2015</a:t>
            </a:r>
            <a:endParaRPr lang="en-US" sz="2000" b="1" noProof="1">
              <a:solidFill>
                <a:srgbClr val="262626"/>
              </a:solidFill>
              <a:latin typeface="Optane" pitchFamily="2"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0194" name="Title 1"/>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p>
        </p:txBody>
      </p:sp>
      <p:sp>
        <p:nvSpPr>
          <p:cNvPr id="1800195" name="Text Placeholder 5"/>
          <p:cNvSpPr>
            <a:spLocks noGrp="1"/>
          </p:cNvSpPr>
          <p:nvPr>
            <p:ph type="body" sz="quarter" idx="4294967295"/>
          </p:nvPr>
        </p:nvSpPr>
        <p:spPr>
          <a:xfrm>
            <a:off x="508000" y="1146175"/>
            <a:ext cx="9280525" cy="576263"/>
          </a:xfrm>
          <a:ln/>
        </p:spPr>
        <p:txBody>
          <a:bodyPr/>
          <a:lstStyle/>
          <a:p>
            <a:pPr marL="0" indent="0">
              <a:buFont typeface="Arial" charset="0"/>
              <a:buNone/>
            </a:pPr>
            <a:r>
              <a:rPr lang="en-US" b="1" i="1" smtClean="0">
                <a:solidFill>
                  <a:schemeClr val="tx2"/>
                </a:solidFill>
              </a:rPr>
              <a:t>Supported by powerful analytical techniques (cont.)</a:t>
            </a:r>
          </a:p>
        </p:txBody>
      </p:sp>
      <p:cxnSp>
        <p:nvCxnSpPr>
          <p:cNvPr id="82" name="Straight Connector 81"/>
          <p:cNvCxnSpPr/>
          <p:nvPr/>
        </p:nvCxnSpPr>
        <p:spPr>
          <a:xfrm>
            <a:off x="977900" y="2949575"/>
            <a:ext cx="719455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960438" y="4292600"/>
            <a:ext cx="719455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2771775" y="2171700"/>
            <a:ext cx="0" cy="441642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435600" y="2171700"/>
            <a:ext cx="0" cy="442595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960438" y="5340350"/>
            <a:ext cx="7194550" cy="2857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977900" y="6588125"/>
            <a:ext cx="720090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8154988" y="2171700"/>
            <a:ext cx="0" cy="441642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1039813" y="3128963"/>
            <a:ext cx="1963737" cy="523875"/>
          </a:xfrm>
          <a:prstGeom prst="rect">
            <a:avLst/>
          </a:prstGeom>
          <a:noFill/>
        </p:spPr>
        <p:txBody>
          <a:bodyPr>
            <a:spAutoFit/>
          </a:bodyPr>
          <a:lstStyle/>
          <a:p>
            <a:pPr algn="ctr" fontAlgn="auto">
              <a:spcBef>
                <a:spcPts val="0"/>
              </a:spcBef>
              <a:spcAft>
                <a:spcPts val="0"/>
              </a:spcAft>
              <a:defRPr/>
            </a:pPr>
            <a:r>
              <a:rPr lang="en-US" altLang="es-ES_tradnl" sz="1400" b="1" kern="0" dirty="0">
                <a:solidFill>
                  <a:srgbClr val="17375E"/>
                </a:solidFill>
                <a:latin typeface="+mn-lt"/>
                <a:cs typeface="+mn-cs"/>
              </a:rPr>
              <a:t>Protocols and case management</a:t>
            </a:r>
            <a:endParaRPr lang="en-US" altLang="es-ES_tradnl" sz="1400" b="1" kern="0" dirty="0">
              <a:solidFill>
                <a:srgbClr val="17375E"/>
              </a:solidFill>
              <a:latin typeface="+mn-lt"/>
              <a:cs typeface="+mn-cs"/>
            </a:endParaRPr>
          </a:p>
        </p:txBody>
      </p:sp>
      <p:sp>
        <p:nvSpPr>
          <p:cNvPr id="1800204" name="TextBox 101"/>
          <p:cNvSpPr txBox="1">
            <a:spLocks noChangeArrowheads="1"/>
          </p:cNvSpPr>
          <p:nvPr/>
        </p:nvSpPr>
        <p:spPr bwMode="auto">
          <a:xfrm>
            <a:off x="1130300" y="4524375"/>
            <a:ext cx="1787525" cy="584200"/>
          </a:xfrm>
          <a:prstGeom prst="rect">
            <a:avLst/>
          </a:prstGeom>
          <a:noFill/>
          <a:ln w="9525">
            <a:noFill/>
            <a:miter lim="800000"/>
            <a:headEnd/>
            <a:tailEnd/>
          </a:ln>
        </p:spPr>
        <p:txBody>
          <a:bodyPr>
            <a:spAutoFit/>
          </a:bodyPr>
          <a:lstStyle/>
          <a:p>
            <a:pPr algn="ctr"/>
            <a:r>
              <a:rPr lang="en-US" sz="1600" b="1">
                <a:solidFill>
                  <a:srgbClr val="17375E"/>
                </a:solidFill>
              </a:rPr>
              <a:t>Analytical techniques</a:t>
            </a:r>
          </a:p>
        </p:txBody>
      </p:sp>
      <p:sp>
        <p:nvSpPr>
          <p:cNvPr id="1800205" name="TextBox 102"/>
          <p:cNvSpPr txBox="1">
            <a:spLocks noChangeArrowheads="1"/>
          </p:cNvSpPr>
          <p:nvPr/>
        </p:nvSpPr>
        <p:spPr bwMode="auto">
          <a:xfrm>
            <a:off x="1130300" y="5794375"/>
            <a:ext cx="1787525" cy="338138"/>
          </a:xfrm>
          <a:prstGeom prst="rect">
            <a:avLst/>
          </a:prstGeom>
          <a:noFill/>
          <a:ln w="9525">
            <a:noFill/>
            <a:miter lim="800000"/>
            <a:headEnd/>
            <a:tailEnd/>
          </a:ln>
        </p:spPr>
        <p:txBody>
          <a:bodyPr>
            <a:spAutoFit/>
          </a:bodyPr>
          <a:lstStyle/>
          <a:p>
            <a:pPr algn="ctr"/>
            <a:r>
              <a:rPr lang="en-US" sz="1600" b="1">
                <a:solidFill>
                  <a:srgbClr val="17375E"/>
                </a:solidFill>
              </a:rPr>
              <a:t>Data sources</a:t>
            </a:r>
          </a:p>
        </p:txBody>
      </p:sp>
      <p:sp>
        <p:nvSpPr>
          <p:cNvPr id="1800206" name="TextBox 107"/>
          <p:cNvSpPr txBox="1">
            <a:spLocks noChangeArrowheads="1"/>
          </p:cNvSpPr>
          <p:nvPr/>
        </p:nvSpPr>
        <p:spPr bwMode="auto">
          <a:xfrm>
            <a:off x="3079750" y="2181225"/>
            <a:ext cx="2808288" cy="338138"/>
          </a:xfrm>
          <a:prstGeom prst="rect">
            <a:avLst/>
          </a:prstGeom>
          <a:noFill/>
          <a:ln w="9525">
            <a:noFill/>
            <a:miter lim="800000"/>
            <a:headEnd/>
            <a:tailEnd/>
          </a:ln>
        </p:spPr>
        <p:txBody>
          <a:bodyPr>
            <a:spAutoFit/>
          </a:bodyPr>
          <a:lstStyle/>
          <a:p>
            <a:pPr algn="ctr"/>
            <a:r>
              <a:rPr lang="en-US" sz="1600" b="1">
                <a:solidFill>
                  <a:srgbClr val="17375E"/>
                </a:solidFill>
              </a:rPr>
              <a:t>Capabilities provided</a:t>
            </a:r>
          </a:p>
        </p:txBody>
      </p:sp>
      <p:sp>
        <p:nvSpPr>
          <p:cNvPr id="1800207" name="TextBox 109"/>
          <p:cNvSpPr txBox="1">
            <a:spLocks noChangeArrowheads="1"/>
          </p:cNvSpPr>
          <p:nvPr/>
        </p:nvSpPr>
        <p:spPr bwMode="auto">
          <a:xfrm>
            <a:off x="5967413" y="2192338"/>
            <a:ext cx="2808287" cy="831850"/>
          </a:xfrm>
          <a:prstGeom prst="rect">
            <a:avLst/>
          </a:prstGeom>
          <a:noFill/>
          <a:ln w="9525">
            <a:noFill/>
            <a:miter lim="800000"/>
            <a:headEnd/>
            <a:tailEnd/>
          </a:ln>
        </p:spPr>
        <p:txBody>
          <a:bodyPr>
            <a:spAutoFit/>
          </a:bodyPr>
          <a:lstStyle/>
          <a:p>
            <a:pPr algn="ctr"/>
            <a:r>
              <a:rPr lang="en-US" sz="1600" b="1">
                <a:solidFill>
                  <a:srgbClr val="17375E"/>
                </a:solidFill>
              </a:rPr>
              <a:t>Results for Social Security General Treasury  </a:t>
            </a:r>
          </a:p>
        </p:txBody>
      </p:sp>
      <p:sp>
        <p:nvSpPr>
          <p:cNvPr id="114" name="TextBox 113"/>
          <p:cNvSpPr txBox="1"/>
          <p:nvPr/>
        </p:nvSpPr>
        <p:spPr>
          <a:xfrm>
            <a:off x="3003550" y="3021013"/>
            <a:ext cx="2884488" cy="1169987"/>
          </a:xfrm>
          <a:prstGeom prst="rect">
            <a:avLst/>
          </a:prstGeom>
          <a:noFill/>
        </p:spPr>
        <p:txBody>
          <a:bodyPr>
            <a:spAutoFit/>
          </a:bodyPr>
          <a:lstStyle/>
          <a:p>
            <a:pPr fontAlgn="auto">
              <a:spcBef>
                <a:spcPts val="0"/>
              </a:spcBef>
              <a:spcAft>
                <a:spcPts val="0"/>
              </a:spcAft>
              <a:defRPr/>
            </a:pPr>
            <a:r>
              <a:rPr lang="en-US" altLang="es-ES_tradnl" sz="1400" kern="0" dirty="0">
                <a:solidFill>
                  <a:srgbClr val="17375E"/>
                </a:solidFill>
                <a:latin typeface="+mn-lt"/>
                <a:cs typeface="+mn-cs"/>
              </a:rPr>
              <a:t>Definition and implementation of: </a:t>
            </a:r>
            <a:r>
              <a:rPr lang="en-US" altLang="es-ES_tradnl" sz="1400" kern="0" dirty="0">
                <a:solidFill>
                  <a:srgbClr val="17375E"/>
                </a:solidFill>
                <a:latin typeface="+mn-lt"/>
                <a:cs typeface="+mn-cs"/>
              </a:rPr>
              <a:t>automatic actions, performances </a:t>
            </a:r>
            <a:r>
              <a:rPr lang="en-US" altLang="es-ES_tradnl" sz="1400" kern="0" dirty="0">
                <a:solidFill>
                  <a:srgbClr val="17375E"/>
                </a:solidFill>
                <a:latin typeface="+mn-lt"/>
                <a:cs typeface="+mn-cs"/>
              </a:rPr>
              <a:t>case </a:t>
            </a:r>
            <a:r>
              <a:rPr lang="en-US" altLang="es-ES_tradnl" sz="1400" kern="0" dirty="0">
                <a:solidFill>
                  <a:srgbClr val="17375E"/>
                </a:solidFill>
                <a:latin typeface="+mn-lt"/>
                <a:cs typeface="+mn-cs"/>
              </a:rPr>
              <a:t>review, inspection </a:t>
            </a:r>
            <a:r>
              <a:rPr lang="en-US" altLang="es-ES_tradnl" sz="1400" kern="0" dirty="0">
                <a:solidFill>
                  <a:srgbClr val="17375E"/>
                </a:solidFill>
                <a:latin typeface="+mn-lt"/>
                <a:cs typeface="+mn-cs"/>
              </a:rPr>
              <a:t>activities </a:t>
            </a:r>
            <a:r>
              <a:rPr lang="en-US" altLang="es-ES_tradnl" sz="1400" kern="0" dirty="0">
                <a:solidFill>
                  <a:srgbClr val="17375E"/>
                </a:solidFill>
                <a:latin typeface="+mn-lt"/>
                <a:cs typeface="+mn-cs"/>
              </a:rPr>
              <a:t>, transfer </a:t>
            </a:r>
            <a:r>
              <a:rPr lang="en-US" altLang="es-ES_tradnl" sz="1400" kern="0" dirty="0">
                <a:solidFill>
                  <a:srgbClr val="17375E"/>
                </a:solidFill>
                <a:latin typeface="+mn-lt"/>
                <a:cs typeface="+mn-cs"/>
              </a:rPr>
              <a:t>to third parties.</a:t>
            </a:r>
          </a:p>
        </p:txBody>
      </p:sp>
      <p:sp>
        <p:nvSpPr>
          <p:cNvPr id="115" name="TextBox 114"/>
          <p:cNvSpPr txBox="1"/>
          <p:nvPr/>
        </p:nvSpPr>
        <p:spPr>
          <a:xfrm>
            <a:off x="5888038" y="3019425"/>
            <a:ext cx="2887662" cy="739775"/>
          </a:xfrm>
          <a:prstGeom prst="rect">
            <a:avLst/>
          </a:prstGeom>
          <a:noFill/>
        </p:spPr>
        <p:txBody>
          <a:bodyPr>
            <a:spAutoFit/>
          </a:bodyPr>
          <a:lstStyle/>
          <a:p>
            <a:pPr fontAlgn="auto">
              <a:spcBef>
                <a:spcPts val="0"/>
              </a:spcBef>
              <a:spcAft>
                <a:spcPts val="0"/>
              </a:spcAft>
              <a:defRPr/>
            </a:pPr>
            <a:r>
              <a:rPr lang="en-US" altLang="es-ES_tradnl" sz="1400" kern="0" dirty="0">
                <a:solidFill>
                  <a:srgbClr val="17375E"/>
                </a:solidFill>
                <a:latin typeface="+mn-lt"/>
                <a:cs typeface="+mn-cs"/>
              </a:rPr>
              <a:t>Alarms, automated controls or checks for integrated </a:t>
            </a:r>
            <a:r>
              <a:rPr lang="en-US" altLang="es-ES_tradnl" sz="1400" kern="0" dirty="0">
                <a:solidFill>
                  <a:srgbClr val="17375E"/>
                </a:solidFill>
                <a:latin typeface="+mn-lt"/>
                <a:cs typeface="+mn-cs"/>
              </a:rPr>
              <a:t>fraud management systems.</a:t>
            </a:r>
            <a:endParaRPr lang="en-US" altLang="es-ES_tradnl" sz="1400" kern="0" dirty="0">
              <a:solidFill>
                <a:srgbClr val="17375E"/>
              </a:solidFill>
              <a:latin typeface="+mn-lt"/>
              <a:cs typeface="+mn-cs"/>
            </a:endParaRPr>
          </a:p>
        </p:txBody>
      </p:sp>
      <p:sp>
        <p:nvSpPr>
          <p:cNvPr id="1800210" name="TextBox 116"/>
          <p:cNvSpPr txBox="1">
            <a:spLocks noChangeArrowheads="1"/>
          </p:cNvSpPr>
          <p:nvPr/>
        </p:nvSpPr>
        <p:spPr bwMode="auto">
          <a:xfrm>
            <a:off x="3003550" y="4302125"/>
            <a:ext cx="2884488" cy="738188"/>
          </a:xfrm>
          <a:prstGeom prst="rect">
            <a:avLst/>
          </a:prstGeom>
          <a:noFill/>
          <a:ln w="9525">
            <a:noFill/>
            <a:miter lim="800000"/>
            <a:headEnd/>
            <a:tailEnd/>
          </a:ln>
        </p:spPr>
        <p:txBody>
          <a:bodyPr>
            <a:spAutoFit/>
          </a:bodyPr>
          <a:lstStyle/>
          <a:p>
            <a:r>
              <a:rPr lang="en-US" sz="1400">
                <a:solidFill>
                  <a:srgbClr val="17375E"/>
                </a:solidFill>
              </a:rPr>
              <a:t>-Identification of business rules </a:t>
            </a:r>
          </a:p>
          <a:p>
            <a:r>
              <a:rPr lang="en-US" sz="1400">
                <a:solidFill>
                  <a:srgbClr val="17375E"/>
                </a:solidFill>
              </a:rPr>
              <a:t>-Anomaly Detection </a:t>
            </a:r>
          </a:p>
          <a:p>
            <a:r>
              <a:rPr lang="en-US" sz="1400">
                <a:solidFill>
                  <a:srgbClr val="17375E"/>
                </a:solidFill>
              </a:rPr>
              <a:t>-Advanced Analytics </a:t>
            </a:r>
          </a:p>
        </p:txBody>
      </p:sp>
      <p:sp>
        <p:nvSpPr>
          <p:cNvPr id="1800211" name="TextBox 117"/>
          <p:cNvSpPr txBox="1">
            <a:spLocks noChangeArrowheads="1"/>
          </p:cNvSpPr>
          <p:nvPr/>
        </p:nvSpPr>
        <p:spPr bwMode="auto">
          <a:xfrm>
            <a:off x="5927725" y="4313238"/>
            <a:ext cx="2886075" cy="738187"/>
          </a:xfrm>
          <a:prstGeom prst="rect">
            <a:avLst/>
          </a:prstGeom>
          <a:noFill/>
          <a:ln w="9525">
            <a:noFill/>
            <a:miter lim="800000"/>
            <a:headEnd/>
            <a:tailEnd/>
          </a:ln>
        </p:spPr>
        <p:txBody>
          <a:bodyPr>
            <a:spAutoFit/>
          </a:bodyPr>
          <a:lstStyle/>
          <a:p>
            <a:r>
              <a:rPr lang="en-US" sz="1400">
                <a:solidFill>
                  <a:srgbClr val="17375E"/>
                </a:solidFill>
              </a:rPr>
              <a:t>Anomaly detection to identify unknown patterns of advanced analytics</a:t>
            </a:r>
          </a:p>
        </p:txBody>
      </p:sp>
      <p:sp>
        <p:nvSpPr>
          <p:cNvPr id="1800212" name="TextBox 118"/>
          <p:cNvSpPr txBox="1">
            <a:spLocks noChangeArrowheads="1"/>
          </p:cNvSpPr>
          <p:nvPr/>
        </p:nvSpPr>
        <p:spPr bwMode="auto">
          <a:xfrm>
            <a:off x="3041650" y="5349875"/>
            <a:ext cx="2886075" cy="1168400"/>
          </a:xfrm>
          <a:prstGeom prst="rect">
            <a:avLst/>
          </a:prstGeom>
          <a:noFill/>
          <a:ln w="9525">
            <a:noFill/>
            <a:miter lim="800000"/>
            <a:headEnd/>
            <a:tailEnd/>
          </a:ln>
        </p:spPr>
        <p:txBody>
          <a:bodyPr>
            <a:spAutoFit/>
          </a:bodyPr>
          <a:lstStyle/>
          <a:p>
            <a:r>
              <a:rPr lang="en-US" sz="1400">
                <a:solidFill>
                  <a:srgbClr val="17375E"/>
                </a:solidFill>
              </a:rPr>
              <a:t>Big Data, Data Cleansing, Data Transformation, Natural Language Processing, Prospecting for information on the Internet</a:t>
            </a:r>
          </a:p>
        </p:txBody>
      </p:sp>
      <p:sp>
        <p:nvSpPr>
          <p:cNvPr id="1800213" name="TextBox 120"/>
          <p:cNvSpPr txBox="1">
            <a:spLocks noChangeArrowheads="1"/>
          </p:cNvSpPr>
          <p:nvPr/>
        </p:nvSpPr>
        <p:spPr bwMode="auto">
          <a:xfrm>
            <a:off x="5888038" y="5419725"/>
            <a:ext cx="2887662" cy="739775"/>
          </a:xfrm>
          <a:prstGeom prst="rect">
            <a:avLst/>
          </a:prstGeom>
          <a:noFill/>
          <a:ln w="9525">
            <a:noFill/>
            <a:miter lim="800000"/>
            <a:headEnd/>
            <a:tailEnd/>
          </a:ln>
        </p:spPr>
        <p:txBody>
          <a:bodyPr>
            <a:spAutoFit/>
          </a:bodyPr>
          <a:lstStyle/>
          <a:p>
            <a:r>
              <a:rPr lang="en-US" sz="1400">
                <a:solidFill>
                  <a:srgbClr val="17375E"/>
                </a:solidFill>
              </a:rPr>
              <a:t>Datamart integrated with high reliability with multiple sources of information</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1218" name="Title 1"/>
          <p:cNvSpPr>
            <a:spLocks noGrp="1"/>
          </p:cNvSpPr>
          <p:nvPr>
            <p:ph type="title" idx="4294967295"/>
          </p:nvPr>
        </p:nvSpPr>
        <p:spPr>
          <a:xfrm>
            <a:off x="495300" y="82550"/>
            <a:ext cx="8915400" cy="561975"/>
          </a:xfrm>
        </p:spPr>
        <p:txBody>
          <a:bodyPr lIns="0" tIns="0" rIns="0" bIns="72000" anchor="b"/>
          <a:lstStyle/>
          <a:p>
            <a:r>
              <a:rPr lang="en-US" smtClean="0">
                <a:solidFill>
                  <a:srgbClr val="808080"/>
                </a:solidFill>
              </a:rPr>
              <a:t>How Analytics Helped</a:t>
            </a:r>
          </a:p>
        </p:txBody>
      </p:sp>
      <p:sp>
        <p:nvSpPr>
          <p:cNvPr id="3" name="Content Placeholder 2"/>
          <p:cNvSpPr>
            <a:spLocks noGrp="1"/>
          </p:cNvSpPr>
          <p:nvPr>
            <p:ph idx="4294967295"/>
          </p:nvPr>
        </p:nvSpPr>
        <p:spPr>
          <a:xfrm>
            <a:off x="7137400" y="1316038"/>
            <a:ext cx="2273300" cy="4810125"/>
          </a:xfrm>
        </p:spPr>
        <p:txBody>
          <a:bodyPr anchor="ctr">
            <a:noAutofit/>
          </a:bodyPr>
          <a:lstStyle/>
          <a:p>
            <a:pPr marL="0" indent="0" algn="ctr">
              <a:buClr>
                <a:schemeClr val="accent2"/>
              </a:buClr>
              <a:buFont typeface="Arial" charset="0"/>
              <a:buNone/>
            </a:pPr>
            <a:r>
              <a:rPr lang="en-US" sz="2000" b="1" smtClean="0">
                <a:solidFill>
                  <a:srgbClr val="17375E"/>
                </a:solidFill>
              </a:rPr>
              <a:t>Multidisciplinary team of consultants with experience in analytics, big data, business and strategy to deal with a complex problem</a:t>
            </a:r>
          </a:p>
        </p:txBody>
      </p:sp>
      <p:sp>
        <p:nvSpPr>
          <p:cNvPr id="1801220" name="Text Placeholder 3"/>
          <p:cNvSpPr>
            <a:spLocks noGrp="1"/>
          </p:cNvSpPr>
          <p:nvPr>
            <p:ph type="body" sz="quarter" idx="4294967295"/>
          </p:nvPr>
        </p:nvSpPr>
        <p:spPr>
          <a:xfrm>
            <a:off x="508000" y="1125538"/>
            <a:ext cx="8890000" cy="574675"/>
          </a:xfrm>
          <a:ln/>
        </p:spPr>
        <p:txBody>
          <a:bodyPr/>
          <a:lstStyle/>
          <a:p>
            <a:pPr marL="0" indent="0">
              <a:buFont typeface="Arial" charset="0"/>
              <a:buNone/>
            </a:pPr>
            <a:r>
              <a:rPr lang="es-ES" sz="2800" b="1" i="1" noProof="1" smtClean="0">
                <a:solidFill>
                  <a:schemeClr val="tx2"/>
                </a:solidFill>
              </a:rPr>
              <a:t>Prevention and fight against fraud in TGSS  - LEIF Operating Model</a:t>
            </a:r>
            <a:endParaRPr lang="en-US" sz="2800" b="1" i="1" smtClean="0">
              <a:solidFill>
                <a:schemeClr val="tx2"/>
              </a:solidFill>
            </a:endParaRPr>
          </a:p>
        </p:txBody>
      </p:sp>
      <p:pic>
        <p:nvPicPr>
          <p:cNvPr id="1801221" name="Picture 2"/>
          <p:cNvPicPr>
            <a:picLocks noChangeAspect="1" noChangeArrowheads="1"/>
          </p:cNvPicPr>
          <p:nvPr/>
        </p:nvPicPr>
        <p:blipFill>
          <a:blip r:embed="rId2"/>
          <a:srcRect/>
          <a:stretch>
            <a:fillRect/>
          </a:stretch>
        </p:blipFill>
        <p:spPr bwMode="auto">
          <a:xfrm>
            <a:off x="661988" y="2224088"/>
            <a:ext cx="6007100" cy="43735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gray">
          <a:xfrm>
            <a:off x="501650" y="4452938"/>
            <a:ext cx="4473575"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Bef>
                <a:spcPts val="0"/>
              </a:spcBef>
              <a:spcAft>
                <a:spcPts val="300"/>
              </a:spcAft>
              <a:defRPr/>
            </a:pPr>
            <a:endParaRPr lang="en-US" sz="1600" kern="0" dirty="0">
              <a:solidFill>
                <a:sysClr val="windowText" lastClr="000000"/>
              </a:solidFill>
              <a:latin typeface="Arial" pitchFamily="34" charset="0"/>
              <a:cs typeface="Arial" pitchFamily="34" charset="0"/>
            </a:endParaRPr>
          </a:p>
        </p:txBody>
      </p:sp>
      <p:sp>
        <p:nvSpPr>
          <p:cNvPr id="16" name="Rounded Rectangle 15"/>
          <p:cNvSpPr/>
          <p:nvPr/>
        </p:nvSpPr>
        <p:spPr bwMode="gray">
          <a:xfrm>
            <a:off x="5111750" y="1822450"/>
            <a:ext cx="4471988"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Bef>
                <a:spcPts val="0"/>
              </a:spcBef>
              <a:spcAft>
                <a:spcPts val="300"/>
              </a:spcAft>
              <a:defRPr/>
            </a:pPr>
            <a:endParaRPr lang="en-US" sz="1600" kern="0" dirty="0">
              <a:solidFill>
                <a:sysClr val="windowText" lastClr="000000"/>
              </a:solidFill>
              <a:latin typeface="Arial" pitchFamily="34" charset="0"/>
              <a:cs typeface="Arial" pitchFamily="34" charset="0"/>
            </a:endParaRPr>
          </a:p>
        </p:txBody>
      </p:sp>
      <p:sp>
        <p:nvSpPr>
          <p:cNvPr id="17" name="Rounded Rectangle 16"/>
          <p:cNvSpPr/>
          <p:nvPr/>
        </p:nvSpPr>
        <p:spPr bwMode="gray">
          <a:xfrm>
            <a:off x="5111750" y="4452938"/>
            <a:ext cx="4470400" cy="2065337"/>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Bef>
                <a:spcPts val="0"/>
              </a:spcBef>
              <a:spcAft>
                <a:spcPts val="300"/>
              </a:spcAft>
              <a:defRPr/>
            </a:pPr>
            <a:endParaRPr lang="en-US" sz="1600" kern="0" dirty="0">
              <a:solidFill>
                <a:sysClr val="windowText" lastClr="000000"/>
              </a:solidFill>
              <a:latin typeface="Arial" pitchFamily="34" charset="0"/>
              <a:cs typeface="Arial" pitchFamily="34" charset="0"/>
            </a:endParaRPr>
          </a:p>
        </p:txBody>
      </p:sp>
      <p:sp>
        <p:nvSpPr>
          <p:cNvPr id="31" name="Rounded Rectangle 30"/>
          <p:cNvSpPr/>
          <p:nvPr/>
        </p:nvSpPr>
        <p:spPr bwMode="gray">
          <a:xfrm>
            <a:off x="1333500" y="4741863"/>
            <a:ext cx="3619500" cy="1487487"/>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lstStyle/>
          <a:p>
            <a:pPr marL="0" lvl="1" algn="just">
              <a:defRPr/>
            </a:pPr>
            <a:r>
              <a:rPr lang="en-GB" sz="1200" dirty="0"/>
              <a:t>Developing </a:t>
            </a:r>
            <a:r>
              <a:rPr lang="en-GB" sz="1200" b="1" dirty="0"/>
              <a:t>analytical capabilities </a:t>
            </a:r>
            <a:r>
              <a:rPr lang="en-GB" sz="1200" dirty="0"/>
              <a:t>in order to identify, in advance, profiles and behavioural patters </a:t>
            </a:r>
            <a:r>
              <a:rPr lang="en-US" sz="1200" dirty="0"/>
              <a:t>of fraudulent </a:t>
            </a:r>
            <a:r>
              <a:rPr lang="en-US" sz="1200" dirty="0"/>
              <a:t>behavior</a:t>
            </a:r>
            <a:r>
              <a:rPr lang="en-US" sz="1200" dirty="0">
                <a:solidFill>
                  <a:srgbClr val="000000"/>
                </a:solidFill>
              </a:rPr>
              <a:t>:</a:t>
            </a:r>
          </a:p>
          <a:p>
            <a:pPr marL="0" lvl="1" algn="just">
              <a:defRPr/>
            </a:pPr>
            <a:endParaRPr lang="en-US" sz="1200" dirty="0">
              <a:solidFill>
                <a:srgbClr val="000000"/>
              </a:solidFill>
            </a:endParaRPr>
          </a:p>
          <a:p>
            <a:pPr marL="171450" indent="-171450" algn="just">
              <a:buFont typeface="Arial" panose="020B0604020202020204" pitchFamily="34" charset="0"/>
              <a:buChar char="•"/>
              <a:defRPr/>
            </a:pPr>
            <a:r>
              <a:rPr lang="en-US" sz="1200" dirty="0">
                <a:solidFill>
                  <a:srgbClr val="000000"/>
                </a:solidFill>
              </a:rPr>
              <a:t>Multidimensional clusters</a:t>
            </a:r>
            <a:endParaRPr lang="en-US" sz="1200" dirty="0">
              <a:solidFill>
                <a:srgbClr val="000000"/>
              </a:solidFill>
            </a:endParaRPr>
          </a:p>
          <a:p>
            <a:pPr marL="171450" indent="-171450" algn="just">
              <a:buFont typeface="Arial" panose="020B0604020202020204" pitchFamily="34" charset="0"/>
              <a:buChar char="•"/>
              <a:defRPr/>
            </a:pPr>
            <a:r>
              <a:rPr lang="en-US" sz="1200" dirty="0">
                <a:solidFill>
                  <a:srgbClr val="000000"/>
                </a:solidFill>
              </a:rPr>
              <a:t>Networking analysis</a:t>
            </a:r>
            <a:endParaRPr lang="en-US" sz="1200" dirty="0">
              <a:solidFill>
                <a:srgbClr val="000000"/>
              </a:solidFill>
            </a:endParaRPr>
          </a:p>
          <a:p>
            <a:pPr marL="171450" indent="-171450" algn="just">
              <a:buFont typeface="Arial" panose="020B0604020202020204" pitchFamily="34" charset="0"/>
              <a:buChar char="•"/>
              <a:defRPr/>
            </a:pPr>
            <a:r>
              <a:rPr lang="en-US" sz="1200" dirty="0">
                <a:solidFill>
                  <a:srgbClr val="000000"/>
                </a:solidFill>
              </a:rPr>
              <a:t>Predictive models</a:t>
            </a:r>
            <a:endParaRPr lang="en-US" sz="1200" dirty="0">
              <a:solidFill>
                <a:srgbClr val="000000"/>
              </a:solidFill>
            </a:endParaRPr>
          </a:p>
          <a:p>
            <a:pPr marL="171450" indent="-171450" algn="just">
              <a:defRPr/>
            </a:pPr>
            <a:endParaRPr lang="en-US" sz="1200" dirty="0">
              <a:solidFill>
                <a:srgbClr val="000000"/>
              </a:solidFill>
            </a:endParaRPr>
          </a:p>
        </p:txBody>
      </p:sp>
      <p:sp>
        <p:nvSpPr>
          <p:cNvPr id="4" name="Rounded Rectangle 3"/>
          <p:cNvSpPr/>
          <p:nvPr/>
        </p:nvSpPr>
        <p:spPr bwMode="gray">
          <a:xfrm>
            <a:off x="501650" y="1822450"/>
            <a:ext cx="4473575"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Bef>
                <a:spcPts val="0"/>
              </a:spcBef>
              <a:spcAft>
                <a:spcPts val="300"/>
              </a:spcAft>
              <a:defRPr/>
            </a:pPr>
            <a:endParaRPr lang="en-US" sz="1600" kern="0" dirty="0">
              <a:solidFill>
                <a:sysClr val="windowText" lastClr="000000"/>
              </a:solidFill>
              <a:latin typeface="Arial" pitchFamily="34" charset="0"/>
              <a:cs typeface="Arial" pitchFamily="34" charset="0"/>
            </a:endParaRPr>
          </a:p>
        </p:txBody>
      </p:sp>
      <p:sp>
        <p:nvSpPr>
          <p:cNvPr id="1802247" name="Title 1"/>
          <p:cNvSpPr>
            <a:spLocks noGrp="1"/>
          </p:cNvSpPr>
          <p:nvPr>
            <p:ph type="title" idx="4294967295"/>
          </p:nvPr>
        </p:nvSpPr>
        <p:spPr>
          <a:xfrm>
            <a:off x="495300" y="82550"/>
            <a:ext cx="8915400" cy="561975"/>
          </a:xfrm>
        </p:spPr>
        <p:txBody>
          <a:bodyPr lIns="0" tIns="0" rIns="0" bIns="72000" anchor="b"/>
          <a:lstStyle/>
          <a:p>
            <a:r>
              <a:rPr lang="en-US" smtClean="0">
                <a:solidFill>
                  <a:srgbClr val="777777"/>
                </a:solidFill>
              </a:rPr>
              <a:t>How Analytics Helped</a:t>
            </a:r>
            <a:endParaRPr lang="en-US" noProof="1" smtClean="0">
              <a:solidFill>
                <a:srgbClr val="777777"/>
              </a:solidFill>
            </a:endParaRPr>
          </a:p>
        </p:txBody>
      </p:sp>
      <p:sp>
        <p:nvSpPr>
          <p:cNvPr id="1802248" name="Text Placeholder 5"/>
          <p:cNvSpPr>
            <a:spLocks noGrp="1"/>
          </p:cNvSpPr>
          <p:nvPr>
            <p:ph type="body" sz="quarter" idx="4294967295"/>
          </p:nvPr>
        </p:nvSpPr>
        <p:spPr>
          <a:xfrm>
            <a:off x="508000" y="1125538"/>
            <a:ext cx="8890000" cy="574675"/>
          </a:xfrm>
          <a:ln/>
        </p:spPr>
        <p:txBody>
          <a:bodyPr/>
          <a:lstStyle/>
          <a:p>
            <a:pPr marL="0" indent="0">
              <a:buFont typeface="Arial" charset="0"/>
              <a:buNone/>
            </a:pPr>
            <a:r>
              <a:rPr lang="es-ES" sz="4000" b="1" i="1" noProof="1" smtClean="0">
                <a:solidFill>
                  <a:schemeClr val="tx2"/>
                </a:solidFill>
              </a:rPr>
              <a:t>First assets</a:t>
            </a:r>
            <a:endParaRPr lang="es-ES" sz="4000" b="1" i="1" smtClean="0">
              <a:solidFill>
                <a:schemeClr val="tx2"/>
              </a:solidFill>
            </a:endParaRPr>
          </a:p>
        </p:txBody>
      </p:sp>
      <p:sp>
        <p:nvSpPr>
          <p:cNvPr id="29" name="Rounded Rectangle 28"/>
          <p:cNvSpPr/>
          <p:nvPr/>
        </p:nvSpPr>
        <p:spPr bwMode="gray">
          <a:xfrm>
            <a:off x="1439863" y="1987550"/>
            <a:ext cx="3495675" cy="1895475"/>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lstStyle/>
          <a:p>
            <a:pPr algn="just"/>
            <a:r>
              <a:rPr lang="en-US" sz="1200">
                <a:solidFill>
                  <a:srgbClr val="000000"/>
                </a:solidFill>
                <a:latin typeface="Arial" charset="0"/>
                <a:cs typeface="Arial" charset="0"/>
              </a:rPr>
              <a:t>Phase I completed : LEIF Datamart</a:t>
            </a:r>
          </a:p>
          <a:p>
            <a:pPr algn="just"/>
            <a:endParaRPr lang="en-US" sz="1200">
              <a:solidFill>
                <a:srgbClr val="000000"/>
              </a:solidFill>
              <a:latin typeface="Arial" charset="0"/>
              <a:cs typeface="Arial" charset="0"/>
            </a:endParaRPr>
          </a:p>
          <a:p>
            <a:pPr algn="just">
              <a:buFont typeface="Arial" charset="0"/>
              <a:buChar char="•"/>
            </a:pPr>
            <a:r>
              <a:rPr lang="en-US" sz="1200">
                <a:solidFill>
                  <a:srgbClr val="000000"/>
                </a:solidFill>
                <a:latin typeface="Arial" charset="0"/>
                <a:cs typeface="Arial" charset="0"/>
              </a:rPr>
              <a:t>10 data sources</a:t>
            </a:r>
          </a:p>
          <a:p>
            <a:pPr algn="just">
              <a:buFont typeface="Arial" charset="0"/>
              <a:buChar char="•"/>
            </a:pPr>
            <a:r>
              <a:rPr lang="en-US" sz="1200">
                <a:solidFill>
                  <a:srgbClr val="000000"/>
                </a:solidFill>
                <a:latin typeface="Arial" charset="0"/>
                <a:cs typeface="Arial" charset="0"/>
              </a:rPr>
              <a:t>Allows quick 360º perspective of workers and company’s behavior</a:t>
            </a:r>
          </a:p>
          <a:p>
            <a:pPr algn="just">
              <a:buFont typeface="Arial" charset="0"/>
              <a:buChar char="•"/>
            </a:pPr>
            <a:r>
              <a:rPr lang="en-US" sz="1200">
                <a:solidFill>
                  <a:srgbClr val="000000"/>
                </a:solidFill>
                <a:latin typeface="Arial" charset="0"/>
                <a:cs typeface="Arial" charset="0"/>
              </a:rPr>
              <a:t>Future Additions:</a:t>
            </a:r>
          </a:p>
          <a:p>
            <a:pPr marL="628650" lvl="1" indent="-171450" algn="just">
              <a:buFont typeface="Arial" charset="0"/>
              <a:buChar char="•"/>
            </a:pPr>
            <a:r>
              <a:rPr lang="en-US" sz="1200">
                <a:solidFill>
                  <a:srgbClr val="000000"/>
                </a:solidFill>
                <a:latin typeface="Arial" charset="0"/>
                <a:cs typeface="Arial" charset="0"/>
              </a:rPr>
              <a:t>Collection, referrals, CRETA ...</a:t>
            </a:r>
          </a:p>
          <a:p>
            <a:pPr marL="628650" lvl="1" indent="-171450" algn="just">
              <a:buFont typeface="Arial" charset="0"/>
              <a:buChar char="•"/>
            </a:pPr>
            <a:r>
              <a:rPr lang="en-US" sz="1200">
                <a:solidFill>
                  <a:srgbClr val="000000"/>
                </a:solidFill>
                <a:latin typeface="Arial" charset="0"/>
                <a:cs typeface="Arial" charset="0"/>
              </a:rPr>
              <a:t>EAT, SEPE, commercial register…</a:t>
            </a:r>
          </a:p>
        </p:txBody>
      </p:sp>
      <p:sp>
        <p:nvSpPr>
          <p:cNvPr id="30" name="Rounded Rectangle 29"/>
          <p:cNvSpPr/>
          <p:nvPr/>
        </p:nvSpPr>
        <p:spPr bwMode="gray">
          <a:xfrm>
            <a:off x="6462713" y="2060575"/>
            <a:ext cx="3198812" cy="1655763"/>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nchor="ctr"/>
          <a:lstStyle/>
          <a:p>
            <a:pPr>
              <a:defRPr/>
            </a:pPr>
            <a:r>
              <a:rPr lang="en-US" sz="1200" b="1" dirty="0">
                <a:solidFill>
                  <a:srgbClr val="000000"/>
                </a:solidFill>
              </a:rPr>
              <a:t>3 researching lines opened:</a:t>
            </a:r>
          </a:p>
          <a:p>
            <a:pPr>
              <a:defRPr/>
            </a:pPr>
            <a:endParaRPr lang="en-US" sz="1200" b="1" dirty="0">
              <a:solidFill>
                <a:srgbClr val="000000"/>
              </a:solidFill>
            </a:endParaRPr>
          </a:p>
          <a:p>
            <a:pPr marL="171450" indent="-171450">
              <a:buFont typeface="Arial" panose="020B0604020202020204" pitchFamily="34" charset="0"/>
              <a:buChar char="•"/>
              <a:defRPr/>
            </a:pPr>
            <a:r>
              <a:rPr lang="en-US" sz="1200" b="1" dirty="0">
                <a:solidFill>
                  <a:srgbClr val="000000"/>
                </a:solidFill>
              </a:rPr>
              <a:t>Lower-contribution: </a:t>
            </a:r>
            <a:r>
              <a:rPr lang="en-US" sz="1200" dirty="0">
                <a:solidFill>
                  <a:srgbClr val="000000"/>
                </a:solidFill>
              </a:rPr>
              <a:t>Hiding computable salary items</a:t>
            </a:r>
          </a:p>
          <a:p>
            <a:pPr marL="171450" indent="-171450">
              <a:buFont typeface="Arial" panose="020B0604020202020204" pitchFamily="34" charset="0"/>
              <a:buChar char="•"/>
              <a:defRPr/>
            </a:pPr>
            <a:r>
              <a:rPr lang="en-US" sz="1200" b="1" dirty="0"/>
              <a:t>Fictitious business</a:t>
            </a:r>
            <a:r>
              <a:rPr lang="en-US" sz="1200" b="1" dirty="0">
                <a:solidFill>
                  <a:srgbClr val="000000"/>
                </a:solidFill>
              </a:rPr>
              <a:t>: </a:t>
            </a:r>
            <a:r>
              <a:rPr lang="en-US" sz="1200" dirty="0">
                <a:solidFill>
                  <a:srgbClr val="000000"/>
                </a:solidFill>
              </a:rPr>
              <a:t>Construction and Household</a:t>
            </a:r>
          </a:p>
          <a:p>
            <a:pPr marL="171450" indent="-171450">
              <a:buFont typeface="Arial" panose="020B0604020202020204" pitchFamily="34" charset="0"/>
              <a:buChar char="•"/>
              <a:defRPr/>
            </a:pPr>
            <a:r>
              <a:rPr lang="en-US" sz="1200" b="1" dirty="0">
                <a:solidFill>
                  <a:srgbClr val="000000"/>
                </a:solidFill>
              </a:rPr>
              <a:t>Irregular employment: </a:t>
            </a:r>
            <a:r>
              <a:rPr lang="en-US" sz="1200" dirty="0">
                <a:solidFill>
                  <a:srgbClr val="000000"/>
                </a:solidFill>
              </a:rPr>
              <a:t>Self-employed quotes</a:t>
            </a:r>
            <a:endParaRPr lang="en-US" sz="1200" dirty="0">
              <a:solidFill>
                <a:srgbClr val="000000"/>
              </a:solidFill>
            </a:endParaRPr>
          </a:p>
        </p:txBody>
      </p:sp>
      <p:sp>
        <p:nvSpPr>
          <p:cNvPr id="12" name="8 Rectángulo redondeado"/>
          <p:cNvSpPr/>
          <p:nvPr/>
        </p:nvSpPr>
        <p:spPr>
          <a:xfrm>
            <a:off x="2792413" y="1689100"/>
            <a:ext cx="1976437" cy="365125"/>
          </a:xfrm>
          <a:prstGeom prst="roundRect">
            <a:avLst/>
          </a:prstGeom>
          <a:ln/>
        </p:spPr>
        <p:style>
          <a:lnRef idx="3">
            <a:schemeClr val="lt1"/>
          </a:lnRef>
          <a:fillRef idx="1">
            <a:schemeClr val="accent2"/>
          </a:fillRef>
          <a:effectRef idx="1">
            <a:schemeClr val="accent2"/>
          </a:effectRef>
          <a:fontRef idx="minor">
            <a:schemeClr val="lt1"/>
          </a:fontRef>
        </p:style>
        <p:txBody>
          <a:bodyPr anchor="ctr">
            <a:spAutoFit/>
          </a:bodyPr>
          <a:lstStyle/>
          <a:p>
            <a:pPr algn="ctr" fontAlgn="auto">
              <a:spcBef>
                <a:spcPts val="0"/>
              </a:spcBef>
              <a:spcAft>
                <a:spcPts val="0"/>
              </a:spcAft>
              <a:defRPr/>
            </a:pPr>
            <a:r>
              <a:rPr lang="en-US" sz="1400" b="1" dirty="0">
                <a:solidFill>
                  <a:schemeClr val="bg1"/>
                </a:solidFill>
                <a:cs typeface="Arial" pitchFamily="34" charset="0"/>
              </a:rPr>
              <a:t>LEIF </a:t>
            </a:r>
            <a:r>
              <a:rPr lang="en-US" sz="1400" b="1" dirty="0" err="1">
                <a:solidFill>
                  <a:schemeClr val="bg1"/>
                </a:solidFill>
                <a:cs typeface="Arial" pitchFamily="34" charset="0"/>
              </a:rPr>
              <a:t>Datamart</a:t>
            </a:r>
            <a:endParaRPr lang="en-US" sz="1400" b="1" dirty="0">
              <a:solidFill>
                <a:schemeClr val="bg1"/>
              </a:solidFill>
              <a:cs typeface="Arial" pitchFamily="34" charset="0"/>
            </a:endParaRPr>
          </a:p>
        </p:txBody>
      </p:sp>
      <p:sp>
        <p:nvSpPr>
          <p:cNvPr id="11" name="8 Rectángulo redondeado"/>
          <p:cNvSpPr/>
          <p:nvPr/>
        </p:nvSpPr>
        <p:spPr>
          <a:xfrm>
            <a:off x="2817813" y="4171950"/>
            <a:ext cx="1976437" cy="579438"/>
          </a:xfrm>
          <a:prstGeom prst="roundRect">
            <a:avLst/>
          </a:prstGeom>
          <a:ln/>
        </p:spPr>
        <p:style>
          <a:lnRef idx="3">
            <a:schemeClr val="lt1"/>
          </a:lnRef>
          <a:fillRef idx="1">
            <a:schemeClr val="accent2"/>
          </a:fillRef>
          <a:effectRef idx="1">
            <a:schemeClr val="accent2"/>
          </a:effectRef>
          <a:fontRef idx="minor">
            <a:schemeClr val="lt1"/>
          </a:fontRef>
        </p:style>
        <p:txBody>
          <a:bodyPr anchor="ctr">
            <a:spAutoFit/>
          </a:bodyPr>
          <a:lstStyle/>
          <a:p>
            <a:pPr algn="ctr" fontAlgn="auto">
              <a:spcBef>
                <a:spcPts val="0"/>
              </a:spcBef>
              <a:spcAft>
                <a:spcPts val="0"/>
              </a:spcAft>
              <a:defRPr/>
            </a:pPr>
            <a:r>
              <a:rPr lang="en-US" sz="1400" b="1" dirty="0">
                <a:solidFill>
                  <a:schemeClr val="bg1"/>
                </a:solidFill>
                <a:cs typeface="Arial" pitchFamily="34" charset="0"/>
              </a:rPr>
              <a:t>Analytical capabilities</a:t>
            </a:r>
          </a:p>
        </p:txBody>
      </p:sp>
      <p:sp>
        <p:nvSpPr>
          <p:cNvPr id="9" name="8 Rectángulo redondeado"/>
          <p:cNvSpPr/>
          <p:nvPr/>
        </p:nvSpPr>
        <p:spPr>
          <a:xfrm>
            <a:off x="5294313" y="4291013"/>
            <a:ext cx="1974850" cy="341312"/>
          </a:xfrm>
          <a:prstGeom prst="roundRect">
            <a:avLst/>
          </a:prstGeom>
          <a:ln/>
        </p:spPr>
        <p:style>
          <a:lnRef idx="3">
            <a:schemeClr val="lt1"/>
          </a:lnRef>
          <a:fillRef idx="1">
            <a:schemeClr val="accent2"/>
          </a:fillRef>
          <a:effectRef idx="1">
            <a:schemeClr val="accent2"/>
          </a:effectRef>
          <a:fontRef idx="minor">
            <a:schemeClr val="lt1"/>
          </a:fontRef>
        </p:style>
        <p:txBody>
          <a:bodyPr anchor="ctr">
            <a:spAutoFit/>
          </a:bodyPr>
          <a:lstStyle/>
          <a:p>
            <a:pPr algn="ctr" fontAlgn="auto">
              <a:spcBef>
                <a:spcPts val="0"/>
              </a:spcBef>
              <a:spcAft>
                <a:spcPts val="0"/>
              </a:spcAft>
              <a:defRPr/>
            </a:pPr>
            <a:r>
              <a:rPr lang="en-US" sz="1400" b="1" dirty="0">
                <a:solidFill>
                  <a:schemeClr val="bg1"/>
                </a:solidFill>
                <a:cs typeface="Arial" pitchFamily="34" charset="0"/>
              </a:rPr>
              <a:t>Social awareness</a:t>
            </a:r>
          </a:p>
        </p:txBody>
      </p:sp>
      <p:sp>
        <p:nvSpPr>
          <p:cNvPr id="10" name="8 Rectángulo redondeado"/>
          <p:cNvSpPr/>
          <p:nvPr/>
        </p:nvSpPr>
        <p:spPr>
          <a:xfrm>
            <a:off x="5294313" y="1709738"/>
            <a:ext cx="1974850" cy="339725"/>
          </a:xfrm>
          <a:prstGeom prst="roundRect">
            <a:avLst/>
          </a:prstGeom>
          <a:ln/>
        </p:spPr>
        <p:style>
          <a:lnRef idx="3">
            <a:schemeClr val="lt1"/>
          </a:lnRef>
          <a:fillRef idx="1">
            <a:schemeClr val="accent2"/>
          </a:fillRef>
          <a:effectRef idx="1">
            <a:schemeClr val="accent2"/>
          </a:effectRef>
          <a:fontRef idx="minor">
            <a:schemeClr val="lt1"/>
          </a:fontRef>
        </p:style>
        <p:txBody>
          <a:bodyPr anchor="ctr">
            <a:spAutoFit/>
          </a:bodyPr>
          <a:lstStyle/>
          <a:p>
            <a:pPr algn="ctr" fontAlgn="auto">
              <a:spcBef>
                <a:spcPts val="0"/>
              </a:spcBef>
              <a:spcAft>
                <a:spcPts val="0"/>
              </a:spcAft>
              <a:defRPr/>
            </a:pPr>
            <a:r>
              <a:rPr lang="en-US" sz="1400" b="1" dirty="0">
                <a:solidFill>
                  <a:schemeClr val="bg1"/>
                </a:solidFill>
                <a:cs typeface="Arial" pitchFamily="34" charset="0"/>
              </a:rPr>
              <a:t>Strategic plan</a:t>
            </a:r>
          </a:p>
        </p:txBody>
      </p:sp>
      <p:sp>
        <p:nvSpPr>
          <p:cNvPr id="18" name="Rounded Rectangle 17"/>
          <p:cNvSpPr/>
          <p:nvPr/>
        </p:nvSpPr>
        <p:spPr bwMode="gray">
          <a:xfrm>
            <a:off x="6440488" y="4565650"/>
            <a:ext cx="3197225" cy="2128838"/>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nchor="ctr"/>
          <a:lstStyle/>
          <a:p>
            <a:pPr algn="just">
              <a:defRPr/>
            </a:pPr>
            <a:r>
              <a:rPr lang="en-US" sz="1200" b="1" dirty="0">
                <a:solidFill>
                  <a:srgbClr val="000000"/>
                </a:solidFill>
              </a:rPr>
              <a:t>Completing a survey of citizens’ perceptions of fraud:</a:t>
            </a:r>
          </a:p>
          <a:p>
            <a:pPr algn="just">
              <a:defRPr/>
            </a:pPr>
            <a:endParaRPr lang="en-US" sz="1200" b="1" dirty="0">
              <a:solidFill>
                <a:srgbClr val="000000"/>
              </a:solidFill>
            </a:endParaRPr>
          </a:p>
          <a:p>
            <a:pPr marL="171450" indent="-171450" algn="just">
              <a:buFont typeface="Arial" panose="020B0604020202020204" pitchFamily="34" charset="0"/>
              <a:buChar char="•"/>
              <a:defRPr/>
            </a:pPr>
            <a:r>
              <a:rPr lang="en-US" sz="1200" dirty="0">
                <a:solidFill>
                  <a:srgbClr val="000000"/>
                </a:solidFill>
              </a:rPr>
              <a:t>Knowledge </a:t>
            </a:r>
            <a:r>
              <a:rPr lang="en-US" sz="1200" dirty="0">
                <a:solidFill>
                  <a:srgbClr val="000000"/>
                </a:solidFill>
              </a:rPr>
              <a:t>of the institution and </a:t>
            </a:r>
            <a:r>
              <a:rPr lang="en-US" sz="1200" dirty="0">
                <a:solidFill>
                  <a:srgbClr val="000000"/>
                </a:solidFill>
              </a:rPr>
              <a:t>their functions</a:t>
            </a:r>
            <a:endParaRPr lang="en-US" sz="1200" dirty="0">
              <a:solidFill>
                <a:srgbClr val="000000"/>
              </a:solidFill>
            </a:endParaRPr>
          </a:p>
          <a:p>
            <a:pPr marL="171450" indent="-171450" algn="just">
              <a:buFont typeface="Arial" panose="020B0604020202020204" pitchFamily="34" charset="0"/>
              <a:buChar char="•"/>
              <a:defRPr/>
            </a:pPr>
            <a:r>
              <a:rPr lang="en-US" sz="1200" dirty="0">
                <a:solidFill>
                  <a:srgbClr val="000000"/>
                </a:solidFill>
              </a:rPr>
              <a:t>Clarity </a:t>
            </a:r>
            <a:r>
              <a:rPr lang="en-US" sz="1200" dirty="0">
                <a:solidFill>
                  <a:srgbClr val="000000"/>
                </a:solidFill>
              </a:rPr>
              <a:t>and simplicity of procedures</a:t>
            </a:r>
          </a:p>
          <a:p>
            <a:pPr marL="171450" indent="-171450" algn="just">
              <a:buFont typeface="Arial" panose="020B0604020202020204" pitchFamily="34" charset="0"/>
              <a:buChar char="•"/>
              <a:defRPr/>
            </a:pPr>
            <a:r>
              <a:rPr lang="en-US" sz="1200" dirty="0">
                <a:solidFill>
                  <a:srgbClr val="000000"/>
                </a:solidFill>
              </a:rPr>
              <a:t>Perception </a:t>
            </a:r>
            <a:r>
              <a:rPr lang="en-US" sz="1200" dirty="0">
                <a:solidFill>
                  <a:srgbClr val="000000"/>
                </a:solidFill>
              </a:rPr>
              <a:t>of citizenship fraud</a:t>
            </a:r>
          </a:p>
          <a:p>
            <a:pPr marL="171450" indent="-171450" algn="just">
              <a:buFont typeface="Arial" panose="020B0604020202020204" pitchFamily="34" charset="0"/>
              <a:buChar char="•"/>
              <a:defRPr/>
            </a:pPr>
            <a:r>
              <a:rPr lang="en-US" sz="1200" dirty="0">
                <a:solidFill>
                  <a:srgbClr val="000000"/>
                </a:solidFill>
              </a:rPr>
              <a:t>Tolerance </a:t>
            </a:r>
            <a:r>
              <a:rPr lang="en-US" sz="1200" dirty="0">
                <a:solidFill>
                  <a:srgbClr val="000000"/>
                </a:solidFill>
              </a:rPr>
              <a:t>citizenship fraud</a:t>
            </a:r>
            <a:endParaRPr lang="es-ES" sz="1200" dirty="0">
              <a:solidFill>
                <a:srgbClr val="000000"/>
              </a:solidFill>
            </a:endParaRPr>
          </a:p>
        </p:txBody>
      </p:sp>
      <p:sp>
        <p:nvSpPr>
          <p:cNvPr id="1802256" name="TextBox 7"/>
          <p:cNvSpPr txBox="1">
            <a:spLocks noChangeArrowheads="1"/>
          </p:cNvSpPr>
          <p:nvPr/>
        </p:nvSpPr>
        <p:spPr bwMode="auto">
          <a:xfrm>
            <a:off x="2925763" y="6034088"/>
            <a:ext cx="2047875" cy="461962"/>
          </a:xfrm>
          <a:prstGeom prst="rect">
            <a:avLst/>
          </a:prstGeom>
          <a:noFill/>
          <a:ln w="9525">
            <a:noFill/>
            <a:miter lim="800000"/>
            <a:headEnd/>
            <a:tailEnd/>
          </a:ln>
        </p:spPr>
        <p:txBody>
          <a:bodyPr>
            <a:spAutoFit/>
          </a:bodyPr>
          <a:lstStyle/>
          <a:p>
            <a:pPr marL="171450" indent="-171450" algn="just">
              <a:buFont typeface="Arial" charset="0"/>
              <a:buChar char="•"/>
            </a:pPr>
            <a:r>
              <a:rPr lang="en-US" sz="1200">
                <a:solidFill>
                  <a:srgbClr val="000000"/>
                </a:solidFill>
              </a:rPr>
              <a:t>Advanced indicators</a:t>
            </a:r>
          </a:p>
          <a:p>
            <a:pPr marL="171450" indent="-171450" algn="just">
              <a:buFont typeface="Arial" charset="0"/>
              <a:buChar char="•"/>
            </a:pPr>
            <a:r>
              <a:rPr lang="en-US" sz="1200">
                <a:solidFill>
                  <a:srgbClr val="000000"/>
                </a:solidFill>
              </a:rPr>
              <a:t>Business Rules</a:t>
            </a:r>
          </a:p>
        </p:txBody>
      </p:sp>
      <p:pic>
        <p:nvPicPr>
          <p:cNvPr id="1802257" name="Picture 4" descr="C:\Users\m.panizovanbossel\Pictures\Iconos\pasted-image-small-25062.png"/>
          <p:cNvPicPr>
            <a:picLocks noChangeAspect="1" noChangeArrowheads="1"/>
          </p:cNvPicPr>
          <p:nvPr/>
        </p:nvPicPr>
        <p:blipFill>
          <a:blip r:embed="rId2"/>
          <a:srcRect/>
          <a:stretch>
            <a:fillRect/>
          </a:stretch>
        </p:blipFill>
        <p:spPr bwMode="auto">
          <a:xfrm>
            <a:off x="560388" y="4997450"/>
            <a:ext cx="846137" cy="1216025"/>
          </a:xfrm>
          <a:prstGeom prst="rect">
            <a:avLst/>
          </a:prstGeom>
          <a:noFill/>
          <a:ln w="9525">
            <a:noFill/>
            <a:miter lim="800000"/>
            <a:headEnd/>
            <a:tailEnd/>
          </a:ln>
        </p:spPr>
      </p:pic>
      <p:pic>
        <p:nvPicPr>
          <p:cNvPr id="1032" name="Picture 8" descr="C:\Users\m.panizovanbossel\Pictures\Iconos\survey 2.png"/>
          <p:cNvPicPr>
            <a:picLocks noChangeAspect="1" noChangeArrowheads="1"/>
          </p:cNvPicPr>
          <p:nvPr/>
        </p:nvPicPr>
        <p:blipFill>
          <a:blip r:embed="rId3" cstate="print">
            <a:duotone>
              <a:schemeClr val="bg2">
                <a:shade val="45000"/>
                <a:satMod val="135000"/>
              </a:schemeClr>
              <a:prstClr val="white"/>
            </a:duotone>
            <a:extLst>
              <a:ext uri="{28A0092B-C50C-407E-A947-70E740481C1C}"/>
            </a:extLst>
          </a:blip>
          <a:srcRect/>
          <a:stretch>
            <a:fillRect/>
          </a:stretch>
        </p:blipFill>
        <p:spPr bwMode="auto">
          <a:xfrm>
            <a:off x="5274504" y="4876582"/>
            <a:ext cx="989787" cy="1217559"/>
          </a:xfrm>
          <a:prstGeom prst="rect">
            <a:avLst/>
          </a:prstGeom>
          <a:noFill/>
          <a:extLst>
            <a:ext uri="{909E8E84-426E-40DD-AFC4-6F175D3DCCD1}"/>
          </a:extLst>
        </p:spPr>
      </p:pic>
      <p:pic>
        <p:nvPicPr>
          <p:cNvPr id="1802259" name="Picture 10" descr="C:\Users\m.panizovanbossel\Pictures\Iconos\big data.png"/>
          <p:cNvPicPr>
            <a:picLocks noChangeAspect="1" noChangeArrowheads="1"/>
          </p:cNvPicPr>
          <p:nvPr/>
        </p:nvPicPr>
        <p:blipFill>
          <a:blip r:embed="rId4"/>
          <a:srcRect/>
          <a:stretch>
            <a:fillRect/>
          </a:stretch>
        </p:blipFill>
        <p:spPr bwMode="auto">
          <a:xfrm>
            <a:off x="522288" y="2244725"/>
            <a:ext cx="990600" cy="1219200"/>
          </a:xfrm>
          <a:prstGeom prst="rect">
            <a:avLst/>
          </a:prstGeom>
          <a:noFill/>
          <a:ln w="9525">
            <a:noFill/>
            <a:miter lim="800000"/>
            <a:headEnd/>
            <a:tailEnd/>
          </a:ln>
        </p:spPr>
      </p:pic>
      <p:pic>
        <p:nvPicPr>
          <p:cNvPr id="1036" name="Picture 12" descr="C:\Users\m.panizovanbossel\Pictures\Iconos\strategy-icon-strategy-black-1.png"/>
          <p:cNvPicPr>
            <a:picLocks noChangeAspect="1" noChangeArrowheads="1"/>
          </p:cNvPicPr>
          <p:nvPr/>
        </p:nvPicPr>
        <p:blipFill>
          <a:blip r:embed="rId5" cstate="print">
            <a:duotone>
              <a:schemeClr val="bg2">
                <a:shade val="45000"/>
                <a:satMod val="135000"/>
              </a:schemeClr>
              <a:prstClr val="white"/>
            </a:duotone>
            <a:extLst>
              <a:ext uri="{28A0092B-C50C-407E-A947-70E740481C1C}"/>
            </a:extLst>
          </a:blip>
          <a:srcRect/>
          <a:stretch>
            <a:fillRect/>
          </a:stretch>
        </p:blipFill>
        <p:spPr bwMode="auto">
          <a:xfrm>
            <a:off x="5366348" y="2328292"/>
            <a:ext cx="991122" cy="1219200"/>
          </a:xfrm>
          <a:prstGeom prst="rect">
            <a:avLst/>
          </a:prstGeom>
          <a:noFill/>
          <a:extLst>
            <a:ext uri="{909E8E84-426E-40DD-AFC4-6F175D3DCCD1}"/>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3266" name="1 Título"/>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endParaRPr lang="en-US" noProof="1" smtClean="0">
              <a:solidFill>
                <a:srgbClr val="777777"/>
              </a:solidFill>
            </a:endParaRPr>
          </a:p>
        </p:txBody>
      </p:sp>
      <p:sp>
        <p:nvSpPr>
          <p:cNvPr id="1803267" name="Content Placeholder 4"/>
          <p:cNvSpPr>
            <a:spLocks noGrp="1"/>
          </p:cNvSpPr>
          <p:nvPr>
            <p:ph idx="4294967295"/>
          </p:nvPr>
        </p:nvSpPr>
        <p:spPr>
          <a:xfrm>
            <a:off x="415925" y="1341438"/>
            <a:ext cx="8994775" cy="1419225"/>
          </a:xfrm>
          <a:ln/>
        </p:spPr>
        <p:txBody>
          <a:bodyPr/>
          <a:lstStyle/>
          <a:p>
            <a:pPr marL="174625" indent="-174625">
              <a:buClr>
                <a:schemeClr val="accent2"/>
              </a:buClr>
              <a:buFont typeface="Arial" charset="0"/>
              <a:buNone/>
            </a:pPr>
            <a:r>
              <a:rPr lang="en-US" sz="2400" smtClean="0">
                <a:solidFill>
                  <a:srgbClr val="17375E"/>
                </a:solidFill>
              </a:rPr>
              <a:t>	</a:t>
            </a:r>
            <a:r>
              <a:rPr lang="en-US" sz="2400" b="1" smtClean="0">
                <a:solidFill>
                  <a:srgbClr val="17375E"/>
                </a:solidFill>
              </a:rPr>
              <a:t>First phase of the analytical environment complete with the addition of external and internal sources that allow a 360º perspective of the workers, the company and its historical behavior</a:t>
            </a:r>
            <a:endParaRPr lang="es-ES" sz="2400" b="1" smtClean="0">
              <a:solidFill>
                <a:srgbClr val="17375E"/>
              </a:solidFill>
            </a:endParaRPr>
          </a:p>
        </p:txBody>
      </p:sp>
      <p:sp>
        <p:nvSpPr>
          <p:cNvPr id="1803268" name="Text Placeholder 8"/>
          <p:cNvSpPr>
            <a:spLocks noGrp="1"/>
          </p:cNvSpPr>
          <p:nvPr>
            <p:ph type="body" sz="quarter" idx="4294967295"/>
          </p:nvPr>
        </p:nvSpPr>
        <p:spPr>
          <a:xfrm>
            <a:off x="488950" y="836613"/>
            <a:ext cx="8961438" cy="360362"/>
          </a:xfrm>
          <a:ln/>
        </p:spPr>
        <p:txBody>
          <a:bodyPr/>
          <a:lstStyle/>
          <a:p>
            <a:pPr marL="0" indent="0">
              <a:buFont typeface="Arial" charset="0"/>
              <a:buNone/>
            </a:pPr>
            <a:r>
              <a:rPr lang="es-ES" sz="2800" b="1" i="1" noProof="1" smtClean="0">
                <a:solidFill>
                  <a:schemeClr val="tx2"/>
                </a:solidFill>
              </a:rPr>
              <a:t>LEIF Datamart</a:t>
            </a:r>
            <a:endParaRPr lang="es-ES" sz="2800" b="1" i="1" smtClean="0">
              <a:solidFill>
                <a:schemeClr val="tx2"/>
              </a:solidFill>
            </a:endParaRPr>
          </a:p>
        </p:txBody>
      </p:sp>
      <p:graphicFrame>
        <p:nvGraphicFramePr>
          <p:cNvPr id="3" name="Diagram 2"/>
          <p:cNvGraphicFramePr/>
          <p:nvPr/>
        </p:nvGraphicFramePr>
        <p:xfrm>
          <a:off x="1599161" y="2660915"/>
          <a:ext cx="7645107" cy="3360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Left Brace 7"/>
          <p:cNvSpPr/>
          <p:nvPr/>
        </p:nvSpPr>
        <p:spPr>
          <a:xfrm>
            <a:off x="1285875" y="2889250"/>
            <a:ext cx="50800" cy="1331913"/>
          </a:xfrm>
          <a:prstGeom prst="leftBrace">
            <a:avLst/>
          </a:prstGeom>
          <a:ln w="12700">
            <a:solidFill>
              <a:schemeClr val="accent4"/>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ES">
              <a:solidFill>
                <a:schemeClr val="bg1"/>
              </a:solidFill>
            </a:endParaRPr>
          </a:p>
        </p:txBody>
      </p:sp>
      <p:sp>
        <p:nvSpPr>
          <p:cNvPr id="32" name="Left Brace 31"/>
          <p:cNvSpPr/>
          <p:nvPr/>
        </p:nvSpPr>
        <p:spPr>
          <a:xfrm>
            <a:off x="1285875" y="4473575"/>
            <a:ext cx="50800" cy="1331913"/>
          </a:xfrm>
          <a:prstGeom prst="leftBrac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ES">
              <a:solidFill>
                <a:schemeClr val="bg1"/>
              </a:solidFill>
            </a:endParaRPr>
          </a:p>
        </p:txBody>
      </p:sp>
      <p:sp>
        <p:nvSpPr>
          <p:cNvPr id="1803272" name="Rectangle 18"/>
          <p:cNvSpPr>
            <a:spLocks noChangeArrowheads="1"/>
          </p:cNvSpPr>
          <p:nvPr/>
        </p:nvSpPr>
        <p:spPr bwMode="auto">
          <a:xfrm>
            <a:off x="392113" y="3162300"/>
            <a:ext cx="893762" cy="461963"/>
          </a:xfrm>
          <a:prstGeom prst="rect">
            <a:avLst/>
          </a:prstGeom>
          <a:noFill/>
          <a:ln w="9525">
            <a:noFill/>
            <a:miter lim="800000"/>
            <a:headEnd/>
            <a:tailEnd/>
          </a:ln>
        </p:spPr>
        <p:txBody>
          <a:bodyPr>
            <a:spAutoFit/>
          </a:bodyPr>
          <a:lstStyle/>
          <a:p>
            <a:r>
              <a:rPr lang="en-US" sz="1200" b="1">
                <a:solidFill>
                  <a:srgbClr val="17375E"/>
                </a:solidFill>
              </a:rPr>
              <a:t>Already included</a:t>
            </a:r>
            <a:endParaRPr lang="es-ES" sz="1200" b="1">
              <a:solidFill>
                <a:srgbClr val="17375E"/>
              </a:solidFill>
            </a:endParaRPr>
          </a:p>
        </p:txBody>
      </p:sp>
      <p:sp>
        <p:nvSpPr>
          <p:cNvPr id="1803273" name="Rectangle 33"/>
          <p:cNvSpPr>
            <a:spLocks noChangeArrowheads="1"/>
          </p:cNvSpPr>
          <p:nvPr/>
        </p:nvSpPr>
        <p:spPr bwMode="auto">
          <a:xfrm>
            <a:off x="350838" y="4979988"/>
            <a:ext cx="1400175" cy="461962"/>
          </a:xfrm>
          <a:prstGeom prst="rect">
            <a:avLst/>
          </a:prstGeom>
          <a:noFill/>
          <a:ln w="9525">
            <a:noFill/>
            <a:miter lim="800000"/>
            <a:headEnd/>
            <a:tailEnd/>
          </a:ln>
        </p:spPr>
        <p:txBody>
          <a:bodyPr>
            <a:spAutoFit/>
          </a:bodyPr>
          <a:lstStyle/>
          <a:p>
            <a:r>
              <a:rPr lang="en-US" sz="1200" b="1">
                <a:solidFill>
                  <a:srgbClr val="17375E"/>
                </a:solidFill>
              </a:rPr>
              <a:t>Pending inclusion</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4 Marcador de contenido"/>
          <p:cNvGraphicFramePr>
            <a:graphicFrameLocks noGrp="1"/>
          </p:cNvGraphicFramePr>
          <p:nvPr>
            <p:ph idx="4294967295"/>
          </p:nvPr>
        </p:nvGraphicFramePr>
        <p:xfrm>
          <a:off x="496091" y="2772593"/>
          <a:ext cx="8981811" cy="37527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07363" name="Text Placeholder 2"/>
          <p:cNvSpPr>
            <a:spLocks noGrp="1"/>
          </p:cNvSpPr>
          <p:nvPr>
            <p:ph type="body" sz="quarter" idx="4294967295"/>
          </p:nvPr>
        </p:nvSpPr>
        <p:spPr>
          <a:xfrm>
            <a:off x="488950" y="1125538"/>
            <a:ext cx="8890000" cy="574675"/>
          </a:xfrm>
          <a:ln/>
        </p:spPr>
        <p:txBody>
          <a:bodyPr/>
          <a:lstStyle/>
          <a:p>
            <a:pPr marL="0" indent="0">
              <a:buFont typeface="Arial" charset="0"/>
              <a:buNone/>
            </a:pPr>
            <a:r>
              <a:rPr lang="es-ES" sz="2800" b="1" i="1" smtClean="0">
                <a:solidFill>
                  <a:schemeClr val="tx2"/>
                </a:solidFill>
              </a:rPr>
              <a:t>LEIF Datamart – Database enrichment</a:t>
            </a:r>
          </a:p>
        </p:txBody>
      </p:sp>
      <p:sp>
        <p:nvSpPr>
          <p:cNvPr id="1807364" name="Rectangle 12"/>
          <p:cNvSpPr>
            <a:spLocks noChangeArrowheads="1"/>
          </p:cNvSpPr>
          <p:nvPr/>
        </p:nvSpPr>
        <p:spPr bwMode="auto">
          <a:xfrm>
            <a:off x="415925" y="1712913"/>
            <a:ext cx="9061450" cy="923925"/>
          </a:xfrm>
          <a:prstGeom prst="rect">
            <a:avLst/>
          </a:prstGeom>
          <a:noFill/>
          <a:ln w="9525">
            <a:noFill/>
            <a:miter lim="800000"/>
            <a:headEnd/>
            <a:tailEnd/>
          </a:ln>
        </p:spPr>
        <p:txBody>
          <a:bodyPr>
            <a:spAutoFit/>
          </a:bodyPr>
          <a:lstStyle/>
          <a:p>
            <a:pPr algn="just"/>
            <a:r>
              <a:rPr lang="en-US" b="1">
                <a:solidFill>
                  <a:srgbClr val="17375E"/>
                </a:solidFill>
              </a:rPr>
              <a:t>250 variables</a:t>
            </a:r>
            <a:r>
              <a:rPr lang="en-US">
                <a:solidFill>
                  <a:srgbClr val="17375E"/>
                </a:solidFill>
              </a:rPr>
              <a:t> have been developed for the enrichment of the analytical environment in order to </a:t>
            </a:r>
            <a:r>
              <a:rPr lang="en-US" b="1">
                <a:solidFill>
                  <a:srgbClr val="17375E"/>
                </a:solidFill>
              </a:rPr>
              <a:t>improve the predictive capabilities </a:t>
            </a:r>
            <a:r>
              <a:rPr lang="en-US">
                <a:solidFill>
                  <a:srgbClr val="17375E"/>
                </a:solidFill>
              </a:rPr>
              <a:t>of analytical techniques. The following variables were identified as relevant.</a:t>
            </a:r>
            <a:endParaRPr lang="es-ES">
              <a:solidFill>
                <a:srgbClr val="17375E"/>
              </a:solidFill>
            </a:endParaRPr>
          </a:p>
        </p:txBody>
      </p:sp>
      <p:sp>
        <p:nvSpPr>
          <p:cNvPr id="1807365" name="1 Título"/>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endParaRPr lang="en-US" noProof="1" smtClean="0">
              <a:solidFill>
                <a:srgbClr val="777777"/>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8386" name="Text Placeholder 3"/>
          <p:cNvSpPr>
            <a:spLocks noGrp="1"/>
          </p:cNvSpPr>
          <p:nvPr>
            <p:ph type="body" sz="quarter" idx="4294967295"/>
          </p:nvPr>
        </p:nvSpPr>
        <p:spPr>
          <a:xfrm>
            <a:off x="508000" y="1052513"/>
            <a:ext cx="9398000" cy="574675"/>
          </a:xfrm>
          <a:ln/>
        </p:spPr>
        <p:txBody>
          <a:bodyPr/>
          <a:lstStyle/>
          <a:p>
            <a:pPr marL="0" indent="0">
              <a:buFont typeface="Arial" charset="0"/>
              <a:buNone/>
            </a:pPr>
            <a:r>
              <a:rPr lang="es-ES" sz="2800" b="1" i="1" noProof="1" smtClean="0">
                <a:solidFill>
                  <a:schemeClr val="tx2"/>
                </a:solidFill>
              </a:rPr>
              <a:t>Irregular Employment. Self-employed quotes</a:t>
            </a:r>
            <a:endParaRPr lang="es-ES" sz="2800" b="1" i="1" smtClean="0">
              <a:solidFill>
                <a:schemeClr val="tx2"/>
              </a:solidFill>
            </a:endParaRPr>
          </a:p>
        </p:txBody>
      </p:sp>
      <p:sp>
        <p:nvSpPr>
          <p:cNvPr id="1808387" name="1 Título"/>
          <p:cNvSpPr txBox="1">
            <a:spLocks/>
          </p:cNvSpPr>
          <p:nvPr/>
        </p:nvSpPr>
        <p:spPr bwMode="auto">
          <a:xfrm>
            <a:off x="660400" y="44450"/>
            <a:ext cx="8915400" cy="561975"/>
          </a:xfrm>
          <a:prstGeom prst="rect">
            <a:avLst/>
          </a:prstGeom>
          <a:noFill/>
          <a:ln w="9525">
            <a:noFill/>
            <a:miter lim="800000"/>
            <a:headEnd/>
            <a:tailEnd/>
          </a:ln>
        </p:spPr>
        <p:txBody>
          <a:bodyPr anchor="ctr"/>
          <a:lstStyle/>
          <a:p>
            <a:r>
              <a:rPr lang="en-US" sz="2400">
                <a:solidFill>
                  <a:srgbClr val="777777"/>
                </a:solidFill>
              </a:rPr>
              <a:t>How Analytics Helped</a:t>
            </a:r>
            <a:endParaRPr lang="en-US" sz="2400" noProof="1">
              <a:solidFill>
                <a:srgbClr val="777777"/>
              </a:solidFill>
            </a:endParaRPr>
          </a:p>
        </p:txBody>
      </p:sp>
      <p:graphicFrame>
        <p:nvGraphicFramePr>
          <p:cNvPr id="6" name="Diagram 5"/>
          <p:cNvGraphicFramePr/>
          <p:nvPr/>
        </p:nvGraphicFramePr>
        <p:xfrm>
          <a:off x="764345" y="1724621"/>
          <a:ext cx="8505199" cy="16561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08389" name="Text Placeholder 3"/>
          <p:cNvSpPr txBox="1">
            <a:spLocks/>
          </p:cNvSpPr>
          <p:nvPr/>
        </p:nvSpPr>
        <p:spPr bwMode="auto">
          <a:xfrm>
            <a:off x="508000" y="3860800"/>
            <a:ext cx="8890000" cy="576263"/>
          </a:xfrm>
          <a:prstGeom prst="rect">
            <a:avLst/>
          </a:prstGeom>
          <a:noFill/>
          <a:ln w="9525">
            <a:noFill/>
            <a:miter lim="800000"/>
            <a:headEnd/>
            <a:tailEnd/>
          </a:ln>
        </p:spPr>
        <p:txBody>
          <a:bodyPr/>
          <a:lstStyle/>
          <a:p>
            <a:pPr eaLnBrk="0" hangingPunct="0">
              <a:spcBef>
                <a:spcPts val="300"/>
              </a:spcBef>
              <a:spcAft>
                <a:spcPts val="300"/>
              </a:spcAft>
              <a:buFont typeface="Arial" charset="0"/>
              <a:buNone/>
            </a:pPr>
            <a:r>
              <a:rPr lang="en-US" sz="2800" b="1" i="1">
                <a:solidFill>
                  <a:schemeClr val="tx2"/>
                </a:solidFill>
                <a:latin typeface="Optane" pitchFamily="2" charset="0"/>
              </a:rPr>
              <a:t>Hiding computable salary items</a:t>
            </a:r>
          </a:p>
        </p:txBody>
      </p:sp>
      <p:graphicFrame>
        <p:nvGraphicFramePr>
          <p:cNvPr id="10" name="Diagram 5"/>
          <p:cNvGraphicFramePr/>
          <p:nvPr/>
        </p:nvGraphicFramePr>
        <p:xfrm>
          <a:off x="740533" y="4437112"/>
          <a:ext cx="8505198" cy="191683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9410" name="1 Título"/>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endParaRPr lang="en-US" noProof="1" smtClean="0">
              <a:solidFill>
                <a:srgbClr val="777777"/>
              </a:solidFill>
            </a:endParaRPr>
          </a:p>
        </p:txBody>
      </p:sp>
      <p:sp>
        <p:nvSpPr>
          <p:cNvPr id="1809411" name="Text Placeholder 6"/>
          <p:cNvSpPr>
            <a:spLocks noGrp="1"/>
          </p:cNvSpPr>
          <p:nvPr>
            <p:ph type="body" sz="quarter" idx="4294967295"/>
          </p:nvPr>
        </p:nvSpPr>
        <p:spPr>
          <a:xfrm>
            <a:off x="488950" y="1052513"/>
            <a:ext cx="8890000" cy="576262"/>
          </a:xfrm>
          <a:ln/>
        </p:spPr>
        <p:txBody>
          <a:bodyPr/>
          <a:lstStyle/>
          <a:p>
            <a:pPr marL="0" indent="0">
              <a:buFont typeface="Arial" charset="0"/>
              <a:buNone/>
            </a:pPr>
            <a:r>
              <a:rPr lang="es-ES" b="1" i="1" noProof="1" smtClean="0">
                <a:solidFill>
                  <a:schemeClr val="tx2"/>
                </a:solidFill>
              </a:rPr>
              <a:t>Fictitious business. Construction &amp; Households</a:t>
            </a:r>
            <a:endParaRPr lang="es-ES" b="1" i="1" smtClean="0">
              <a:solidFill>
                <a:schemeClr val="tx2"/>
              </a:solidFill>
            </a:endParaRPr>
          </a:p>
        </p:txBody>
      </p:sp>
      <p:sp>
        <p:nvSpPr>
          <p:cNvPr id="1809412" name="Rectangle 2"/>
          <p:cNvSpPr>
            <a:spLocks noChangeArrowheads="1"/>
          </p:cNvSpPr>
          <p:nvPr/>
        </p:nvSpPr>
        <p:spPr bwMode="auto">
          <a:xfrm>
            <a:off x="193675" y="2366963"/>
            <a:ext cx="3316288" cy="307975"/>
          </a:xfrm>
          <a:prstGeom prst="rect">
            <a:avLst/>
          </a:prstGeom>
          <a:noFill/>
          <a:ln w="9525">
            <a:noFill/>
            <a:miter lim="800000"/>
            <a:headEnd/>
            <a:tailEnd/>
          </a:ln>
        </p:spPr>
        <p:txBody>
          <a:bodyPr>
            <a:spAutoFit/>
          </a:bodyPr>
          <a:lstStyle/>
          <a:p>
            <a:pPr algn="ctr"/>
            <a:r>
              <a:rPr lang="en-US" sz="1400" b="1">
                <a:solidFill>
                  <a:srgbClr val="17375E"/>
                </a:solidFill>
              </a:rPr>
              <a:t>Companies distribution</a:t>
            </a:r>
          </a:p>
        </p:txBody>
      </p:sp>
      <p:sp>
        <p:nvSpPr>
          <p:cNvPr id="1809413" name="Rectangle 27"/>
          <p:cNvSpPr>
            <a:spLocks noChangeArrowheads="1"/>
          </p:cNvSpPr>
          <p:nvPr/>
        </p:nvSpPr>
        <p:spPr bwMode="auto">
          <a:xfrm>
            <a:off x="3627438" y="2382838"/>
            <a:ext cx="3313112" cy="307975"/>
          </a:xfrm>
          <a:prstGeom prst="rect">
            <a:avLst/>
          </a:prstGeom>
          <a:noFill/>
          <a:ln w="9525">
            <a:noFill/>
            <a:miter lim="800000"/>
            <a:headEnd/>
            <a:tailEnd/>
          </a:ln>
        </p:spPr>
        <p:txBody>
          <a:bodyPr>
            <a:spAutoFit/>
          </a:bodyPr>
          <a:lstStyle/>
          <a:p>
            <a:pPr algn="ctr"/>
            <a:r>
              <a:rPr lang="en-US" sz="1400" b="1">
                <a:solidFill>
                  <a:srgbClr val="17375E"/>
                </a:solidFill>
              </a:rPr>
              <a:t>Fictitious business </a:t>
            </a:r>
            <a:r>
              <a:rPr lang="en-US" sz="1400" b="1" i="1">
                <a:solidFill>
                  <a:srgbClr val="17375E"/>
                </a:solidFill>
              </a:rPr>
              <a:t>distribution</a:t>
            </a:r>
          </a:p>
        </p:txBody>
      </p:sp>
      <p:sp>
        <p:nvSpPr>
          <p:cNvPr id="5" name="Rounded Rectangle 4"/>
          <p:cNvSpPr/>
          <p:nvPr/>
        </p:nvSpPr>
        <p:spPr bwMode="gray">
          <a:xfrm>
            <a:off x="7177088" y="1773238"/>
            <a:ext cx="2728912" cy="4543425"/>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buClr>
                <a:schemeClr val="accent2"/>
              </a:buClr>
              <a:buFont typeface="Arial" charset="0"/>
              <a:buChar char="•"/>
            </a:pPr>
            <a:r>
              <a:rPr lang="en-US" sz="1600" b="1">
                <a:solidFill>
                  <a:srgbClr val="17375E"/>
                </a:solidFill>
                <a:latin typeface="Arial" charset="0"/>
                <a:cs typeface="Arial" charset="0"/>
              </a:rPr>
              <a:t>Penetration of fictitious business in construction is very high. Therefore, we have prioritized the analysis of this segment.</a:t>
            </a:r>
          </a:p>
          <a:p>
            <a:pPr>
              <a:buClr>
                <a:schemeClr val="accent2"/>
              </a:buClr>
              <a:buFont typeface="Arial" charset="0"/>
              <a:buChar char="•"/>
            </a:pPr>
            <a:endParaRPr lang="es-ES" sz="1600" b="1">
              <a:solidFill>
                <a:schemeClr val="bg1"/>
              </a:solidFill>
              <a:latin typeface="Arial" charset="0"/>
              <a:cs typeface="Arial" charset="0"/>
            </a:endParaRPr>
          </a:p>
          <a:p>
            <a:pPr>
              <a:buClr>
                <a:schemeClr val="accent2"/>
              </a:buClr>
              <a:buFont typeface="Arial" charset="0"/>
              <a:buChar char="•"/>
            </a:pPr>
            <a:r>
              <a:rPr lang="en-US" sz="1600" b="1">
                <a:solidFill>
                  <a:srgbClr val="17375E"/>
                </a:solidFill>
                <a:latin typeface="Arial" charset="0"/>
                <a:cs typeface="Arial" charset="0"/>
              </a:rPr>
              <a:t>We</a:t>
            </a:r>
            <a:r>
              <a:rPr lang="en-US" sz="1600" b="1">
                <a:solidFill>
                  <a:schemeClr val="bg1"/>
                </a:solidFill>
                <a:latin typeface="Arial" charset="0"/>
                <a:cs typeface="Arial" charset="0"/>
              </a:rPr>
              <a:t> </a:t>
            </a:r>
            <a:r>
              <a:rPr lang="en-US" sz="1600" b="1">
                <a:solidFill>
                  <a:srgbClr val="17375E"/>
                </a:solidFill>
                <a:latin typeface="Arial" charset="0"/>
                <a:cs typeface="Arial" charset="0"/>
              </a:rPr>
              <a:t>have also begun to analyze the household segment due to the significant increase in the number of workers in the SSDE that have proved fictitious.</a:t>
            </a:r>
          </a:p>
        </p:txBody>
      </p:sp>
      <p:pic>
        <p:nvPicPr>
          <p:cNvPr id="1809415" name="Picture 2"/>
          <p:cNvPicPr>
            <a:picLocks noChangeAspect="1" noChangeArrowheads="1"/>
          </p:cNvPicPr>
          <p:nvPr/>
        </p:nvPicPr>
        <p:blipFill>
          <a:blip r:embed="rId2"/>
          <a:srcRect/>
          <a:stretch>
            <a:fillRect/>
          </a:stretch>
        </p:blipFill>
        <p:spPr bwMode="auto">
          <a:xfrm>
            <a:off x="344488" y="2565400"/>
            <a:ext cx="6764337" cy="31337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0434" name="1 Título"/>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endParaRPr lang="en-US" noProof="1" smtClean="0">
              <a:solidFill>
                <a:srgbClr val="777777"/>
              </a:solidFill>
            </a:endParaRPr>
          </a:p>
        </p:txBody>
      </p:sp>
      <p:sp>
        <p:nvSpPr>
          <p:cNvPr id="1810435" name="Text Placeholder 6"/>
          <p:cNvSpPr>
            <a:spLocks noGrp="1"/>
          </p:cNvSpPr>
          <p:nvPr>
            <p:ph type="body" sz="quarter" idx="4294967295"/>
          </p:nvPr>
        </p:nvSpPr>
        <p:spPr>
          <a:xfrm>
            <a:off x="344488" y="1052513"/>
            <a:ext cx="9398000" cy="576262"/>
          </a:xfrm>
          <a:ln/>
        </p:spPr>
        <p:txBody>
          <a:bodyPr/>
          <a:lstStyle/>
          <a:p>
            <a:pPr marL="0" indent="0">
              <a:buFont typeface="Arial" charset="0"/>
              <a:buNone/>
            </a:pPr>
            <a:r>
              <a:rPr lang="es-ES" b="1" i="1" noProof="1" smtClean="0">
                <a:solidFill>
                  <a:schemeClr val="tx2"/>
                </a:solidFill>
              </a:rPr>
              <a:t>Fictitious business. Construction &amp; Households</a:t>
            </a:r>
            <a:endParaRPr lang="es-ES" b="1" i="1" smtClean="0">
              <a:solidFill>
                <a:schemeClr val="tx2"/>
              </a:solidFill>
            </a:endParaRPr>
          </a:p>
        </p:txBody>
      </p:sp>
      <p:graphicFrame>
        <p:nvGraphicFramePr>
          <p:cNvPr id="7" name="Diagram 6"/>
          <p:cNvGraphicFramePr/>
          <p:nvPr/>
        </p:nvGraphicFramePr>
        <p:xfrm>
          <a:off x="740662" y="2708920"/>
          <a:ext cx="8034367" cy="39844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10437" name="12 Rectángulo"/>
          <p:cNvSpPr>
            <a:spLocks noChangeArrowheads="1"/>
          </p:cNvSpPr>
          <p:nvPr/>
        </p:nvSpPr>
        <p:spPr bwMode="auto">
          <a:xfrm>
            <a:off x="428625" y="1928813"/>
            <a:ext cx="9126538" cy="366712"/>
          </a:xfrm>
          <a:prstGeom prst="rect">
            <a:avLst/>
          </a:prstGeom>
          <a:noFill/>
          <a:ln w="9525">
            <a:noFill/>
            <a:miter lim="800000"/>
            <a:headEnd/>
            <a:tailEnd/>
          </a:ln>
        </p:spPr>
        <p:txBody>
          <a:bodyPr>
            <a:spAutoFit/>
          </a:bodyPr>
          <a:lstStyle/>
          <a:p>
            <a:r>
              <a:rPr lang="en-US" b="1">
                <a:solidFill>
                  <a:srgbClr val="17375E"/>
                </a:solidFill>
              </a:rPr>
              <a:t>Powerful analytical techniques were applied in order to identify fictitious busines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88950" y="1700213"/>
            <a:ext cx="8994775" cy="1081087"/>
          </a:xfrm>
        </p:spPr>
        <p:txBody>
          <a:bodyPr>
            <a:noAutofit/>
          </a:bodyPr>
          <a:lstStyle/>
          <a:p>
            <a:pPr marL="174625" indent="-174625" algn="just">
              <a:buClr>
                <a:schemeClr val="accent2"/>
              </a:buClr>
              <a:buFontTx/>
              <a:buChar char="•"/>
            </a:pPr>
            <a:r>
              <a:rPr lang="en-US" sz="1800" smtClean="0">
                <a:solidFill>
                  <a:srgbClr val="17375E"/>
                </a:solidFill>
                <a:latin typeface="Arial" charset="0"/>
                <a:cs typeface="Arial" charset="0"/>
              </a:rPr>
              <a:t>The National Treasury is very interested in analyze society’s sensitivity related to fraud, with the objective of identifying existing fraudulent conduct (“Social Fraud Barometer”)</a:t>
            </a:r>
            <a:endParaRPr lang="es-ES" sz="1800" smtClean="0">
              <a:solidFill>
                <a:srgbClr val="17375E"/>
              </a:solidFill>
              <a:latin typeface="Arial" charset="0"/>
              <a:cs typeface="Arial" charset="0"/>
            </a:endParaRPr>
          </a:p>
          <a:p>
            <a:pPr marL="174625" indent="-174625" algn="just">
              <a:buClr>
                <a:schemeClr val="accent2"/>
              </a:buClr>
              <a:buFontTx/>
              <a:buChar char="•"/>
            </a:pPr>
            <a:endParaRPr lang="en-US" sz="1800" smtClean="0">
              <a:solidFill>
                <a:srgbClr val="17375E"/>
              </a:solidFill>
              <a:latin typeface="Arial" charset="0"/>
              <a:cs typeface="Arial" charset="0"/>
            </a:endParaRPr>
          </a:p>
          <a:p>
            <a:pPr marL="174625" indent="-174625">
              <a:buClr>
                <a:schemeClr val="accent2"/>
              </a:buClr>
              <a:buFontTx/>
              <a:buChar char="•"/>
            </a:pPr>
            <a:endParaRPr lang="es-ES" smtClean="0">
              <a:solidFill>
                <a:srgbClr val="17375E"/>
              </a:solidFill>
            </a:endParaRPr>
          </a:p>
        </p:txBody>
      </p:sp>
      <p:sp>
        <p:nvSpPr>
          <p:cNvPr id="1813507" name="Text Placeholder 3"/>
          <p:cNvSpPr>
            <a:spLocks noGrp="1"/>
          </p:cNvSpPr>
          <p:nvPr>
            <p:ph type="body" sz="quarter" idx="4294967295"/>
          </p:nvPr>
        </p:nvSpPr>
        <p:spPr>
          <a:xfrm>
            <a:off x="560388" y="765175"/>
            <a:ext cx="8745537" cy="431800"/>
          </a:xfrm>
          <a:ln/>
        </p:spPr>
        <p:txBody>
          <a:bodyPr/>
          <a:lstStyle/>
          <a:p>
            <a:pPr marL="0" indent="0">
              <a:buFont typeface="Arial" charset="0"/>
              <a:buNone/>
            </a:pPr>
            <a:r>
              <a:rPr lang="en-US" b="1" i="1" smtClean="0">
                <a:solidFill>
                  <a:schemeClr val="tx2"/>
                </a:solidFill>
              </a:rPr>
              <a:t>Social awareness</a:t>
            </a:r>
          </a:p>
        </p:txBody>
      </p:sp>
      <p:sp>
        <p:nvSpPr>
          <p:cNvPr id="1813508" name="1 Título"/>
          <p:cNvSpPr txBox="1">
            <a:spLocks/>
          </p:cNvSpPr>
          <p:nvPr/>
        </p:nvSpPr>
        <p:spPr bwMode="auto">
          <a:xfrm>
            <a:off x="660400" y="285750"/>
            <a:ext cx="8915400" cy="561975"/>
          </a:xfrm>
          <a:prstGeom prst="rect">
            <a:avLst/>
          </a:prstGeom>
          <a:noFill/>
          <a:ln w="9525">
            <a:noFill/>
            <a:miter lim="800000"/>
            <a:headEnd/>
            <a:tailEnd/>
          </a:ln>
        </p:spPr>
        <p:txBody>
          <a:bodyPr anchor="ctr"/>
          <a:lstStyle/>
          <a:p>
            <a:r>
              <a:rPr lang="en-US" sz="2400">
                <a:solidFill>
                  <a:srgbClr val="777777"/>
                </a:solidFill>
              </a:rPr>
              <a:t>How Analytics Helped</a:t>
            </a:r>
            <a:endParaRPr lang="en-US" sz="2400" noProof="1">
              <a:solidFill>
                <a:srgbClr val="777777"/>
              </a:solidFill>
            </a:endParaRPr>
          </a:p>
        </p:txBody>
      </p:sp>
      <p:grpSp>
        <p:nvGrpSpPr>
          <p:cNvPr id="1813509" name="6 Grupo"/>
          <p:cNvGrpSpPr>
            <a:grpSpLocks/>
          </p:cNvGrpSpPr>
          <p:nvPr/>
        </p:nvGrpSpPr>
        <p:grpSpPr bwMode="auto">
          <a:xfrm>
            <a:off x="4171950" y="2503488"/>
            <a:ext cx="4992688" cy="3805237"/>
            <a:chOff x="3707904" y="2924944"/>
            <a:chExt cx="4608512" cy="3805459"/>
          </a:xfrm>
        </p:grpSpPr>
        <p:sp>
          <p:nvSpPr>
            <p:cNvPr id="6" name="5 Rectángulo"/>
            <p:cNvSpPr/>
            <p:nvPr/>
          </p:nvSpPr>
          <p:spPr bwMode="gray">
            <a:xfrm>
              <a:off x="3707904" y="2924944"/>
              <a:ext cx="4608512" cy="3805459"/>
            </a:xfrm>
            <a:prstGeom prst="rect">
              <a:avLst/>
            </a:prstGeom>
            <a:solidFill>
              <a:schemeClr val="accent6">
                <a:lumMod val="20000"/>
                <a:lumOff val="80000"/>
              </a:schemeClr>
            </a:solidFill>
            <a:ln w="6350">
              <a:solidFill>
                <a:srgbClr val="778888">
                  <a:lumMod val="20000"/>
                  <a:lumOff val="80000"/>
                </a:srgbClr>
              </a:solidFill>
              <a:miter lim="800000"/>
              <a:headEnd/>
              <a:tailEnd/>
            </a:ln>
            <a:effectLst/>
          </p:spPr>
          <p:txBody>
            <a:bodyPr lIns="72000" tIns="72000" rIns="72000" bIns="72000"/>
            <a:lstStyle/>
            <a:p>
              <a:pPr>
                <a:spcBef>
                  <a:spcPts val="0"/>
                </a:spcBef>
                <a:spcAft>
                  <a:spcPts val="300"/>
                </a:spcAft>
                <a:defRPr/>
              </a:pPr>
              <a:endParaRPr lang="es-ES" sz="1600" kern="0" dirty="0" err="1">
                <a:solidFill>
                  <a:sysClr val="windowText" lastClr="000000"/>
                </a:solidFill>
                <a:latin typeface="Arial" pitchFamily="34" charset="0"/>
                <a:cs typeface="Arial" pitchFamily="34" charset="0"/>
              </a:endParaRPr>
            </a:p>
          </p:txBody>
        </p:sp>
        <p:pic>
          <p:nvPicPr>
            <p:cNvPr id="1813511" name="Picture 2"/>
            <p:cNvPicPr>
              <a:picLocks noChangeAspect="1" noChangeArrowheads="1"/>
            </p:cNvPicPr>
            <p:nvPr/>
          </p:nvPicPr>
          <p:blipFill>
            <a:blip r:embed="rId2"/>
            <a:srcRect/>
            <a:stretch>
              <a:fillRect/>
            </a:stretch>
          </p:blipFill>
          <p:spPr bwMode="auto">
            <a:xfrm>
              <a:off x="3784384" y="2957443"/>
              <a:ext cx="4485825" cy="3720577"/>
            </a:xfrm>
            <a:prstGeom prst="rect">
              <a:avLst/>
            </a:prstGeom>
            <a:noFill/>
            <a:ln w="9525">
              <a:noFill/>
              <a:miter lim="800000"/>
              <a:headEnd/>
              <a:tailEnd/>
            </a:ln>
          </p:spPr>
        </p:pic>
      </p:grpSp>
      <p:sp>
        <p:nvSpPr>
          <p:cNvPr id="8" name="Content Placeholder 2"/>
          <p:cNvSpPr txBox="1">
            <a:spLocks/>
          </p:cNvSpPr>
          <p:nvPr/>
        </p:nvSpPr>
        <p:spPr>
          <a:xfrm>
            <a:off x="488950" y="2997200"/>
            <a:ext cx="3443288" cy="2822575"/>
          </a:xfrm>
          <a:prstGeom prst="rect">
            <a:avLst/>
          </a:prstGeom>
        </p:spPr>
        <p:txBody>
          <a:bodyPr/>
          <a:lstStyle/>
          <a:p>
            <a:pPr marL="174625" indent="-174625" algn="just" eaLnBrk="0" hangingPunct="0">
              <a:spcBef>
                <a:spcPts val="300"/>
              </a:spcBef>
              <a:spcAft>
                <a:spcPts val="300"/>
              </a:spcAft>
              <a:buClr>
                <a:schemeClr val="accent2"/>
              </a:buClr>
              <a:buFont typeface="Arial" charset="0"/>
              <a:buChar char="•"/>
              <a:defRPr/>
            </a:pPr>
            <a:r>
              <a:rPr lang="en-US" dirty="0">
                <a:solidFill>
                  <a:srgbClr val="17375E"/>
                </a:solidFill>
                <a:latin typeface="+mn-lt"/>
                <a:cs typeface="+mn-cs"/>
              </a:rPr>
              <a:t>Therefore a survey was conducted in 2014</a:t>
            </a:r>
          </a:p>
          <a:p>
            <a:pPr marL="174625" indent="-174625" algn="just" eaLnBrk="0" hangingPunct="0">
              <a:spcBef>
                <a:spcPts val="300"/>
              </a:spcBef>
              <a:spcAft>
                <a:spcPts val="300"/>
              </a:spcAft>
              <a:buClr>
                <a:schemeClr val="accent2"/>
              </a:buClr>
              <a:buFont typeface="Arial" charset="0"/>
              <a:buChar char="•"/>
              <a:defRPr/>
            </a:pPr>
            <a:endParaRPr lang="en-US" dirty="0">
              <a:solidFill>
                <a:srgbClr val="17375E"/>
              </a:solidFill>
              <a:latin typeface="+mn-lt"/>
              <a:cs typeface="+mn-cs"/>
            </a:endParaRPr>
          </a:p>
          <a:p>
            <a:pPr marL="174625" indent="-174625" algn="just" eaLnBrk="0" hangingPunct="0">
              <a:spcBef>
                <a:spcPts val="300"/>
              </a:spcBef>
              <a:spcAft>
                <a:spcPts val="300"/>
              </a:spcAft>
              <a:buClr>
                <a:schemeClr val="accent2"/>
              </a:buClr>
              <a:buFont typeface="Arial" charset="0"/>
              <a:buChar char="•"/>
              <a:defRPr/>
            </a:pPr>
            <a:r>
              <a:rPr lang="en-US" b="1" dirty="0">
                <a:solidFill>
                  <a:srgbClr val="17375E"/>
                </a:solidFill>
                <a:latin typeface="+mn-lt"/>
                <a:cs typeface="+mn-cs"/>
              </a:rPr>
              <a:t>The definition of a Strategic communication plan</a:t>
            </a:r>
            <a:r>
              <a:rPr lang="en-US" dirty="0">
                <a:solidFill>
                  <a:srgbClr val="17375E"/>
                </a:solidFill>
                <a:latin typeface="+mn-lt"/>
                <a:cs typeface="+mn-cs"/>
              </a:rPr>
              <a:t> will be developed based on the results of the Fraud Survey 2014.</a:t>
            </a:r>
          </a:p>
          <a:p>
            <a:pPr marL="174625" indent="-174625" algn="just" eaLnBrk="0" hangingPunct="0">
              <a:spcBef>
                <a:spcPts val="300"/>
              </a:spcBef>
              <a:spcAft>
                <a:spcPts val="300"/>
              </a:spcAft>
              <a:buClr>
                <a:schemeClr val="accent2"/>
              </a:buClr>
              <a:buFont typeface="Arial" charset="0"/>
              <a:buNone/>
              <a:defRPr/>
            </a:pPr>
            <a:endParaRPr lang="en-US" dirty="0">
              <a:solidFill>
                <a:srgbClr val="17375E"/>
              </a:solidFill>
              <a:latin typeface="+mn-lt"/>
              <a:cs typeface="+mn-cs"/>
            </a:endParaRPr>
          </a:p>
          <a:p>
            <a:pPr eaLnBrk="0" hangingPunct="0">
              <a:spcBef>
                <a:spcPts val="300"/>
              </a:spcBef>
              <a:spcAft>
                <a:spcPts val="300"/>
              </a:spcAft>
              <a:buClr>
                <a:schemeClr val="accent2"/>
              </a:buClr>
              <a:buFont typeface="Arial" charset="0"/>
              <a:buNone/>
              <a:defRPr/>
            </a:pPr>
            <a:endParaRPr lang="es-ES" sz="4500" dirty="0">
              <a:solidFill>
                <a:srgbClr val="17375E"/>
              </a:solidFill>
              <a:latin typeface="+mn-lt"/>
              <a:cs typeface="+mn-cs"/>
            </a:endParaRPr>
          </a:p>
          <a:p>
            <a:pPr marL="174625" indent="-174625" algn="just" eaLnBrk="0" hangingPunct="0">
              <a:spcBef>
                <a:spcPts val="300"/>
              </a:spcBef>
              <a:spcAft>
                <a:spcPts val="300"/>
              </a:spcAft>
              <a:buClr>
                <a:schemeClr val="accent2"/>
              </a:buClr>
              <a:buFont typeface="Arial" charset="0"/>
              <a:buNone/>
              <a:defRPr/>
            </a:pPr>
            <a:endParaRPr lang="en-US" sz="1600" dirty="0">
              <a:solidFill>
                <a:srgbClr val="17375E"/>
              </a:solidFill>
              <a:latin typeface="+mn-lt"/>
              <a:cs typeface="+mn-cs"/>
            </a:endParaRPr>
          </a:p>
          <a:p>
            <a:pPr eaLnBrk="0" hangingPunct="0">
              <a:spcBef>
                <a:spcPts val="300"/>
              </a:spcBef>
              <a:spcAft>
                <a:spcPts val="300"/>
              </a:spcAft>
              <a:buClr>
                <a:schemeClr val="accent2"/>
              </a:buClr>
              <a:buFont typeface="Arial" charset="0"/>
              <a:buNone/>
              <a:defRPr/>
            </a:pPr>
            <a:endParaRPr lang="es-ES" sz="1600" dirty="0">
              <a:solidFill>
                <a:srgbClr val="17375E"/>
              </a:solidFill>
              <a:latin typeface="+mn-lt"/>
              <a:cs typeface="+mn-cs"/>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560388" y="1484313"/>
            <a:ext cx="8994775" cy="1817687"/>
          </a:xfrm>
        </p:spPr>
        <p:txBody>
          <a:bodyPr>
            <a:normAutofit/>
          </a:bodyPr>
          <a:lstStyle/>
          <a:p>
            <a:pPr marL="174625" indent="-174625" algn="just">
              <a:lnSpc>
                <a:spcPct val="90000"/>
              </a:lnSpc>
              <a:buClr>
                <a:schemeClr val="accent2"/>
              </a:buClr>
            </a:pPr>
            <a:r>
              <a:rPr lang="en-US" sz="2400" smtClean="0">
                <a:solidFill>
                  <a:srgbClr val="17375E"/>
                </a:solidFill>
              </a:rPr>
              <a:t>Definition, design and analysis of </a:t>
            </a:r>
            <a:r>
              <a:rPr lang="en-US" sz="2400" b="1" smtClean="0">
                <a:solidFill>
                  <a:srgbClr val="17375E"/>
                </a:solidFill>
              </a:rPr>
              <a:t>Fraud Survey 2014  </a:t>
            </a:r>
            <a:r>
              <a:rPr lang="en-US" sz="2400" smtClean="0">
                <a:solidFill>
                  <a:srgbClr val="17375E"/>
                </a:solidFill>
              </a:rPr>
              <a:t>in order to describe how citizens notice the fraud against the TGSS.</a:t>
            </a:r>
          </a:p>
          <a:p>
            <a:pPr marL="174625" indent="-174625" algn="just">
              <a:lnSpc>
                <a:spcPct val="90000"/>
              </a:lnSpc>
              <a:buClr>
                <a:schemeClr val="accent2"/>
              </a:buClr>
            </a:pPr>
            <a:r>
              <a:rPr lang="en-US" sz="2400" b="1" smtClean="0">
                <a:solidFill>
                  <a:srgbClr val="17375E"/>
                </a:solidFill>
              </a:rPr>
              <a:t>Strategic communications plan</a:t>
            </a:r>
            <a:r>
              <a:rPr lang="en-US" sz="2400" smtClean="0">
                <a:solidFill>
                  <a:srgbClr val="17375E"/>
                </a:solidFill>
              </a:rPr>
              <a:t> will be developed based on the results of the Fraud Survey 2014.</a:t>
            </a:r>
          </a:p>
          <a:p>
            <a:pPr marL="174625" indent="-174625" algn="just">
              <a:lnSpc>
                <a:spcPct val="90000"/>
              </a:lnSpc>
              <a:buClr>
                <a:schemeClr val="accent2"/>
              </a:buClr>
            </a:pPr>
            <a:endParaRPr lang="en-US" sz="2400" smtClean="0">
              <a:solidFill>
                <a:srgbClr val="17375E"/>
              </a:solidFill>
            </a:endParaRPr>
          </a:p>
          <a:p>
            <a:pPr marL="174625" indent="-174625" algn="just">
              <a:lnSpc>
                <a:spcPct val="90000"/>
              </a:lnSpc>
              <a:buClr>
                <a:schemeClr val="accent2"/>
              </a:buClr>
            </a:pPr>
            <a:r>
              <a:rPr lang="en-US" sz="2400" smtClean="0">
                <a:solidFill>
                  <a:srgbClr val="17375E"/>
                </a:solidFill>
              </a:rPr>
              <a:t>Methodology:</a:t>
            </a:r>
          </a:p>
          <a:p>
            <a:pPr marL="174625" indent="-174625" algn="just">
              <a:lnSpc>
                <a:spcPct val="90000"/>
              </a:lnSpc>
              <a:buClr>
                <a:schemeClr val="accent2"/>
              </a:buClr>
            </a:pPr>
            <a:endParaRPr lang="en-US" sz="2400" smtClean="0">
              <a:solidFill>
                <a:srgbClr val="17375E"/>
              </a:solidFill>
            </a:endParaRPr>
          </a:p>
          <a:p>
            <a:pPr marL="174625" indent="-174625">
              <a:lnSpc>
                <a:spcPct val="90000"/>
              </a:lnSpc>
              <a:buClr>
                <a:schemeClr val="accent2"/>
              </a:buClr>
              <a:buFont typeface="Arial" charset="0"/>
              <a:buNone/>
            </a:pPr>
            <a:endParaRPr lang="es-ES" sz="3000" smtClean="0">
              <a:solidFill>
                <a:srgbClr val="17375E"/>
              </a:solidFill>
            </a:endParaRPr>
          </a:p>
        </p:txBody>
      </p:sp>
      <p:sp>
        <p:nvSpPr>
          <p:cNvPr id="1814531" name="Text Placeholder 3"/>
          <p:cNvSpPr>
            <a:spLocks noGrp="1"/>
          </p:cNvSpPr>
          <p:nvPr>
            <p:ph type="body" sz="quarter" idx="4294967295"/>
          </p:nvPr>
        </p:nvSpPr>
        <p:spPr>
          <a:xfrm>
            <a:off x="560388" y="836613"/>
            <a:ext cx="8890000" cy="576262"/>
          </a:xfrm>
          <a:ln/>
        </p:spPr>
        <p:txBody>
          <a:bodyPr/>
          <a:lstStyle/>
          <a:p>
            <a:pPr marL="0" indent="0">
              <a:buFont typeface="Arial" charset="0"/>
              <a:buNone/>
            </a:pPr>
            <a:r>
              <a:rPr lang="en-US" b="1" i="1" smtClean="0">
                <a:solidFill>
                  <a:schemeClr val="tx2"/>
                </a:solidFill>
              </a:rPr>
              <a:t>Social awareness</a:t>
            </a:r>
          </a:p>
        </p:txBody>
      </p:sp>
      <p:graphicFrame>
        <p:nvGraphicFramePr>
          <p:cNvPr id="8" name="Diagram 23"/>
          <p:cNvGraphicFramePr/>
          <p:nvPr/>
        </p:nvGraphicFramePr>
        <p:xfrm>
          <a:off x="744426" y="2568809"/>
          <a:ext cx="8577323" cy="23723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20 Rectángulo redondeado"/>
          <p:cNvSpPr/>
          <p:nvPr/>
        </p:nvSpPr>
        <p:spPr bwMode="gray">
          <a:xfrm>
            <a:off x="741363" y="4281488"/>
            <a:ext cx="1636712" cy="1512887"/>
          </a:xfrm>
          <a:prstGeom prst="roundRect">
            <a:avLst/>
          </a:prstGeom>
          <a:ln>
            <a:headEnd/>
            <a:tailEnd/>
          </a:ln>
        </p:spPr>
        <p:style>
          <a:lnRef idx="1">
            <a:schemeClr val="accent2"/>
          </a:lnRef>
          <a:fillRef idx="2">
            <a:schemeClr val="accent2"/>
          </a:fillRef>
          <a:effectRef idx="1">
            <a:schemeClr val="accent2"/>
          </a:effectRef>
          <a:fontRef idx="minor">
            <a:schemeClr val="dk1"/>
          </a:fontRef>
        </p:style>
        <p:txBody>
          <a:bodyPr lIns="72000" tIns="72000" rIns="72000" bIns="72000"/>
          <a:lstStyle/>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Goals</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Target</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Methodology</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Questionnaire design</a:t>
            </a:r>
            <a:endParaRPr lang="en-US" sz="1400" kern="0" dirty="0" err="1">
              <a:solidFill>
                <a:sysClr val="windowText" lastClr="000000"/>
              </a:solidFill>
              <a:latin typeface="Arial" pitchFamily="34" charset="0"/>
              <a:cs typeface="Arial" pitchFamily="34" charset="0"/>
            </a:endParaRPr>
          </a:p>
        </p:txBody>
      </p:sp>
      <p:sp>
        <p:nvSpPr>
          <p:cNvPr id="17" name="24 Rectángulo redondeado"/>
          <p:cNvSpPr/>
          <p:nvPr/>
        </p:nvSpPr>
        <p:spPr bwMode="gray">
          <a:xfrm>
            <a:off x="2457450" y="4281488"/>
            <a:ext cx="1560513" cy="1512887"/>
          </a:xfrm>
          <a:prstGeom prst="roundRect">
            <a:avLst/>
          </a:prstGeom>
          <a:ln>
            <a:headEnd/>
            <a:tailEnd/>
          </a:ln>
        </p:spPr>
        <p:style>
          <a:lnRef idx="1">
            <a:schemeClr val="accent2"/>
          </a:lnRef>
          <a:fillRef idx="2">
            <a:schemeClr val="accent2"/>
          </a:fillRef>
          <a:effectRef idx="1">
            <a:schemeClr val="accent2"/>
          </a:effectRef>
          <a:fontRef idx="minor">
            <a:schemeClr val="dk1"/>
          </a:fontRef>
        </p:style>
        <p:txBody>
          <a:bodyPr lIns="72000" tIns="72000" rIns="72000" bIns="72000"/>
          <a:lstStyle/>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Proof of Concept</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Training</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Supervision</a:t>
            </a:r>
          </a:p>
        </p:txBody>
      </p:sp>
      <p:sp>
        <p:nvSpPr>
          <p:cNvPr id="18" name="25 Rectángulo redondeado"/>
          <p:cNvSpPr/>
          <p:nvPr/>
        </p:nvSpPr>
        <p:spPr bwMode="gray">
          <a:xfrm>
            <a:off x="4094163" y="4281488"/>
            <a:ext cx="1560512" cy="1512887"/>
          </a:xfrm>
          <a:prstGeom prst="roundRect">
            <a:avLst/>
          </a:prstGeom>
          <a:ln>
            <a:headEnd/>
            <a:tailEnd/>
          </a:ln>
        </p:spPr>
        <p:style>
          <a:lnRef idx="1">
            <a:schemeClr val="accent2"/>
          </a:lnRef>
          <a:fillRef idx="2">
            <a:schemeClr val="accent2"/>
          </a:fillRef>
          <a:effectRef idx="1">
            <a:schemeClr val="accent2"/>
          </a:effectRef>
          <a:fontRef idx="minor">
            <a:schemeClr val="dk1"/>
          </a:fontRef>
        </p:style>
        <p:txBody>
          <a:bodyPr lIns="72000" tIns="72000" rIns="72000" bIns="72000"/>
          <a:lstStyle/>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Gather survey results</a:t>
            </a:r>
          </a:p>
        </p:txBody>
      </p:sp>
      <p:sp>
        <p:nvSpPr>
          <p:cNvPr id="19" name="26 Rectángulo redondeado"/>
          <p:cNvSpPr/>
          <p:nvPr/>
        </p:nvSpPr>
        <p:spPr bwMode="gray">
          <a:xfrm>
            <a:off x="5734050" y="4281488"/>
            <a:ext cx="3276600" cy="1512887"/>
          </a:xfrm>
          <a:prstGeom prst="roundRect">
            <a:avLst/>
          </a:prstGeom>
          <a:ln>
            <a:headEnd/>
            <a:tailEnd/>
          </a:ln>
        </p:spPr>
        <p:style>
          <a:lnRef idx="1">
            <a:schemeClr val="accent2"/>
          </a:lnRef>
          <a:fillRef idx="2">
            <a:schemeClr val="accent2"/>
          </a:fillRef>
          <a:effectRef idx="1">
            <a:schemeClr val="accent2"/>
          </a:effectRef>
          <a:fontRef idx="minor">
            <a:schemeClr val="dk1"/>
          </a:fontRef>
        </p:style>
        <p:txBody>
          <a:bodyPr lIns="72000" tIns="72000" rIns="72000" bIns="72000"/>
          <a:lstStyle/>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Import survey results to database</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Weighing</a:t>
            </a:r>
          </a:p>
          <a:p>
            <a:pPr indent="88900">
              <a:spcBef>
                <a:spcPts val="0"/>
              </a:spcBef>
              <a:spcAft>
                <a:spcPts val="300"/>
              </a:spcAft>
              <a:buFont typeface="Arial" pitchFamily="34" charset="0"/>
              <a:buChar char="•"/>
              <a:defRPr/>
            </a:pPr>
            <a:r>
              <a:rPr lang="en-US" sz="1400" kern="0" dirty="0" err="1">
                <a:solidFill>
                  <a:sysClr val="windowText" lastClr="000000"/>
                </a:solidFill>
                <a:latin typeface="Arial" pitchFamily="34" charset="0"/>
                <a:cs typeface="Arial" pitchFamily="34" charset="0"/>
              </a:rPr>
              <a:t>Sociodemographic</a:t>
            </a:r>
            <a:r>
              <a:rPr lang="en-US" sz="1400" kern="0" dirty="0">
                <a:solidFill>
                  <a:sysClr val="windowText" lastClr="000000"/>
                </a:solidFill>
                <a:latin typeface="Arial" pitchFamily="34" charset="0"/>
                <a:cs typeface="Arial" pitchFamily="34" charset="0"/>
              </a:rPr>
              <a:t> Analysis</a:t>
            </a:r>
          </a:p>
          <a:p>
            <a:pPr indent="88900">
              <a:spcBef>
                <a:spcPts val="0"/>
              </a:spcBef>
              <a:spcAft>
                <a:spcPts val="300"/>
              </a:spcAft>
              <a:buFont typeface="Arial" pitchFamily="34" charset="0"/>
              <a:buChar char="•"/>
              <a:defRPr/>
            </a:pPr>
            <a:r>
              <a:rPr lang="en-US" sz="1400" kern="0" dirty="0">
                <a:solidFill>
                  <a:sysClr val="windowText" lastClr="000000"/>
                </a:solidFill>
                <a:latin typeface="Arial" pitchFamily="34" charset="0"/>
                <a:cs typeface="Arial" pitchFamily="34" charset="0"/>
              </a:rPr>
              <a:t>Final Report</a:t>
            </a:r>
          </a:p>
        </p:txBody>
      </p:sp>
      <p:sp>
        <p:nvSpPr>
          <p:cNvPr id="1814537" name="1 Título"/>
          <p:cNvSpPr txBox="1">
            <a:spLocks/>
          </p:cNvSpPr>
          <p:nvPr/>
        </p:nvSpPr>
        <p:spPr bwMode="auto">
          <a:xfrm>
            <a:off x="660400" y="285750"/>
            <a:ext cx="8915400" cy="561975"/>
          </a:xfrm>
          <a:prstGeom prst="rect">
            <a:avLst/>
          </a:prstGeom>
          <a:noFill/>
          <a:ln w="9525">
            <a:noFill/>
            <a:miter lim="800000"/>
            <a:headEnd/>
            <a:tailEnd/>
          </a:ln>
        </p:spPr>
        <p:txBody>
          <a:bodyPr anchor="ctr"/>
          <a:lstStyle/>
          <a:p>
            <a:r>
              <a:rPr lang="en-US" sz="2400">
                <a:solidFill>
                  <a:srgbClr val="777777"/>
                </a:solidFill>
              </a:rPr>
              <a:t>How Analytics Helped</a:t>
            </a:r>
            <a:endParaRPr lang="en-US" sz="2400" noProof="1">
              <a:solidFill>
                <a:srgbClr val="777777"/>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76642" name="Group 3"/>
          <p:cNvGrpSpPr>
            <a:grpSpLocks/>
          </p:cNvGrpSpPr>
          <p:nvPr/>
        </p:nvGrpSpPr>
        <p:grpSpPr bwMode="auto">
          <a:xfrm>
            <a:off x="508000" y="1196975"/>
            <a:ext cx="950913" cy="5518150"/>
            <a:chOff x="4978" y="663"/>
            <a:chExt cx="553" cy="3476"/>
          </a:xfrm>
        </p:grpSpPr>
        <p:sp>
          <p:nvSpPr>
            <p:cNvPr id="5" name="Rectangle 4"/>
            <p:cNvSpPr>
              <a:spLocks noChangeArrowheads="1"/>
            </p:cNvSpPr>
            <p:nvPr/>
          </p:nvSpPr>
          <p:spPr bwMode="auto">
            <a:xfrm>
              <a:off x="4978" y="663"/>
              <a:ext cx="553" cy="1943"/>
            </a:xfrm>
            <a:prstGeom prst="rect">
              <a:avLst/>
            </a:prstGeom>
            <a:solidFill>
              <a:srgbClr val="294A84"/>
            </a:solidFill>
            <a:ln w="9525">
              <a:noFill/>
              <a:miter lim="800000"/>
              <a:headEnd/>
              <a:tailEnd/>
            </a:ln>
          </p:spPr>
          <p:txBody>
            <a:bodyPr wrap="none" anchor="ctr"/>
            <a:lstStyle/>
            <a:p>
              <a:pPr fontAlgn="auto">
                <a:spcBef>
                  <a:spcPts val="0"/>
                </a:spcBef>
                <a:spcAft>
                  <a:spcPts val="0"/>
                </a:spcAft>
                <a:defRPr/>
              </a:pPr>
              <a:endParaRPr lang="es-ES" kern="0" dirty="0">
                <a:solidFill>
                  <a:sysClr val="windowText" lastClr="000000"/>
                </a:solidFill>
                <a:latin typeface="+mn-lt"/>
                <a:cs typeface="+mn-cs"/>
              </a:endParaRPr>
            </a:p>
          </p:txBody>
        </p:sp>
        <p:sp>
          <p:nvSpPr>
            <p:cNvPr id="6" name="Rectangle 5"/>
            <p:cNvSpPr>
              <a:spLocks noChangeArrowheads="1"/>
            </p:cNvSpPr>
            <p:nvPr/>
          </p:nvSpPr>
          <p:spPr bwMode="auto">
            <a:xfrm rot="16200000">
              <a:off x="4552" y="1569"/>
              <a:ext cx="1392" cy="292"/>
            </a:xfrm>
            <a:prstGeom prst="rect">
              <a:avLst/>
            </a:prstGeom>
            <a:noFill/>
            <a:ln w="9525">
              <a:noFill/>
              <a:miter lim="800000"/>
              <a:headEnd/>
              <a:tailEnd/>
            </a:ln>
          </p:spPr>
          <p:txBody>
            <a:bodyPr lIns="92075" tIns="46038" rIns="92075" bIns="46038">
              <a:spAutoFit/>
            </a:bodyPr>
            <a:lstStyle/>
            <a:p>
              <a:pPr algn="ctr" defTabSz="762000" fontAlgn="auto">
                <a:spcBef>
                  <a:spcPts val="0"/>
                </a:spcBef>
                <a:spcAft>
                  <a:spcPts val="0"/>
                </a:spcAft>
                <a:defRPr/>
              </a:pPr>
              <a:r>
                <a:rPr lang="es-ES_tradnl" sz="2400" kern="0" dirty="0">
                  <a:solidFill>
                    <a:srgbClr val="D7D7FF"/>
                  </a:solidFill>
                  <a:latin typeface="+mn-lt"/>
                  <a:cs typeface="+mn-cs"/>
                </a:rPr>
                <a:t>AGENDA</a:t>
              </a:r>
              <a:endParaRPr lang="es-ES_tradnl" sz="2400" kern="0" dirty="0">
                <a:solidFill>
                  <a:srgbClr val="D7D7FF"/>
                </a:solidFill>
                <a:latin typeface="+mn-lt"/>
                <a:cs typeface="+mn-cs"/>
              </a:endParaRPr>
            </a:p>
          </p:txBody>
        </p:sp>
        <p:sp>
          <p:nvSpPr>
            <p:cNvPr id="7" name="Rectangle 6"/>
            <p:cNvSpPr>
              <a:spLocks noChangeArrowheads="1"/>
            </p:cNvSpPr>
            <p:nvPr/>
          </p:nvSpPr>
          <p:spPr bwMode="auto">
            <a:xfrm rot="16200000">
              <a:off x="4485" y="3235"/>
              <a:ext cx="1518" cy="291"/>
            </a:xfrm>
            <a:prstGeom prst="rect">
              <a:avLst/>
            </a:prstGeom>
            <a:noFill/>
            <a:ln w="9525">
              <a:noFill/>
              <a:miter lim="800000"/>
              <a:headEnd/>
              <a:tailEnd/>
            </a:ln>
          </p:spPr>
          <p:txBody>
            <a:bodyPr lIns="92075" tIns="46038" rIns="92075" bIns="46038">
              <a:spAutoFit/>
            </a:bodyPr>
            <a:lstStyle/>
            <a:p>
              <a:pPr algn="ctr" defTabSz="762000" fontAlgn="auto">
                <a:spcBef>
                  <a:spcPts val="0"/>
                </a:spcBef>
                <a:spcAft>
                  <a:spcPts val="0"/>
                </a:spcAft>
                <a:defRPr/>
              </a:pPr>
              <a:r>
                <a:rPr lang="es-ES_tradnl" sz="2400" kern="0" dirty="0">
                  <a:solidFill>
                    <a:srgbClr val="C0C0C0"/>
                  </a:solidFill>
                  <a:latin typeface="+mn-lt"/>
                  <a:cs typeface="+mn-cs"/>
                </a:rPr>
                <a:t>AGENDA</a:t>
              </a:r>
              <a:endParaRPr lang="es-ES_tradnl" sz="2400" kern="0" dirty="0">
                <a:solidFill>
                  <a:srgbClr val="C0C0C0"/>
                </a:solidFill>
                <a:latin typeface="+mn-lt"/>
                <a:cs typeface="+mn-cs"/>
              </a:endParaRPr>
            </a:p>
          </p:txBody>
        </p:sp>
      </p:grpSp>
      <p:sp>
        <p:nvSpPr>
          <p:cNvPr id="9" name="Rectangle 5"/>
          <p:cNvSpPr txBox="1">
            <a:spLocks noChangeArrowheads="1"/>
          </p:cNvSpPr>
          <p:nvPr/>
        </p:nvSpPr>
        <p:spPr>
          <a:xfrm>
            <a:off x="1911350" y="1560513"/>
            <a:ext cx="7175500" cy="4460875"/>
          </a:xfrm>
          <a:prstGeom prst="rect">
            <a:avLst/>
          </a:prstGeom>
          <a:noFill/>
        </p:spPr>
        <p:txBody>
          <a:bodyPr tIns="180000"/>
          <a:lstStyle/>
          <a:p>
            <a:pPr marL="333375" indent="-333375" algn="just" eaLnBrk="0" hangingPunct="0">
              <a:lnSpc>
                <a:spcPct val="125000"/>
              </a:lnSpc>
              <a:spcBef>
                <a:spcPct val="10000"/>
              </a:spcBef>
              <a:spcAft>
                <a:spcPts val="2400"/>
              </a:spcAft>
              <a:buClr>
                <a:srgbClr val="0A5CFF"/>
              </a:buClr>
              <a:buFont typeface="Wingdings" pitchFamily="2" charset="2"/>
              <a:buChar char="v"/>
            </a:pPr>
            <a:endParaRPr lang="es-ES" b="1">
              <a:solidFill>
                <a:srgbClr val="0A5CFF"/>
              </a:solidFill>
            </a:endParaRPr>
          </a:p>
          <a:p>
            <a:pPr marL="333375" indent="-333375" algn="just" eaLnBrk="0" hangingPunct="0">
              <a:lnSpc>
                <a:spcPct val="125000"/>
              </a:lnSpc>
              <a:spcBef>
                <a:spcPct val="10000"/>
              </a:spcBef>
              <a:spcAft>
                <a:spcPts val="2400"/>
              </a:spcAft>
              <a:buClr>
                <a:srgbClr val="0A5CFF"/>
              </a:buClr>
              <a:buFont typeface="Wingdings" pitchFamily="2" charset="2"/>
              <a:buChar char="v"/>
            </a:pPr>
            <a:r>
              <a:rPr lang="en-US" sz="2400" b="1">
                <a:solidFill>
                  <a:srgbClr val="0A5CFF"/>
                </a:solidFill>
              </a:rPr>
              <a:t>General Treasury of the Social Security</a:t>
            </a:r>
          </a:p>
          <a:p>
            <a:pPr marL="333375" indent="-333375" algn="just" eaLnBrk="0" hangingPunct="0">
              <a:lnSpc>
                <a:spcPct val="125000"/>
              </a:lnSpc>
              <a:spcBef>
                <a:spcPct val="10000"/>
              </a:spcBef>
              <a:spcAft>
                <a:spcPts val="2400"/>
              </a:spcAft>
              <a:buClr>
                <a:srgbClr val="0A5CFF"/>
              </a:buClr>
              <a:buFont typeface="Wingdings" pitchFamily="2" charset="2"/>
              <a:buChar char="v"/>
            </a:pPr>
            <a:r>
              <a:rPr lang="en-US" sz="2400" b="1">
                <a:solidFill>
                  <a:srgbClr val="0A5CFF"/>
                </a:solidFill>
              </a:rPr>
              <a:t>Business challenge</a:t>
            </a:r>
          </a:p>
          <a:p>
            <a:pPr marL="333375" indent="-333375" algn="just" eaLnBrk="0" hangingPunct="0">
              <a:lnSpc>
                <a:spcPct val="125000"/>
              </a:lnSpc>
              <a:spcBef>
                <a:spcPct val="10000"/>
              </a:spcBef>
              <a:spcAft>
                <a:spcPts val="2400"/>
              </a:spcAft>
              <a:buClr>
                <a:srgbClr val="0A5CFF"/>
              </a:buClr>
              <a:buFont typeface="Wingdings" pitchFamily="2" charset="2"/>
              <a:buChar char="v"/>
            </a:pPr>
            <a:r>
              <a:rPr lang="en-US" sz="2400" b="1">
                <a:solidFill>
                  <a:srgbClr val="0A5CFF"/>
                </a:solidFill>
              </a:rPr>
              <a:t>How Analytics helped</a:t>
            </a:r>
          </a:p>
          <a:p>
            <a:pPr marL="333375" indent="-333375" algn="just" eaLnBrk="0" hangingPunct="0">
              <a:lnSpc>
                <a:spcPct val="125000"/>
              </a:lnSpc>
              <a:spcBef>
                <a:spcPct val="10000"/>
              </a:spcBef>
              <a:spcAft>
                <a:spcPts val="2400"/>
              </a:spcAft>
              <a:buClr>
                <a:srgbClr val="0A5CFF"/>
              </a:buClr>
              <a:buFont typeface="Wingdings" pitchFamily="2" charset="2"/>
              <a:buChar char="v"/>
            </a:pPr>
            <a:r>
              <a:rPr lang="en-US" sz="2400" b="1">
                <a:solidFill>
                  <a:srgbClr val="0A5CFF"/>
                </a:solidFill>
              </a:rPr>
              <a:t>High performance. Delivered</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gray">
          <a:xfrm>
            <a:off x="193675" y="1428750"/>
            <a:ext cx="9361488" cy="762000"/>
          </a:xfrm>
          <a:prstGeom prst="rect">
            <a:avLst/>
          </a:prstGeom>
          <a:noFill/>
          <a:ln w="9525" algn="ctr">
            <a:noFill/>
            <a:miter lim="800000"/>
            <a:headEnd/>
            <a:tailEnd/>
          </a:ln>
          <a:effectLst>
            <a:outerShdw blurRad="50800" dist="38100" dir="18900000" algn="bl" rotWithShape="0">
              <a:prstClr val="black">
                <a:alpha val="40000"/>
              </a:prstClr>
            </a:outerShdw>
          </a:effectLst>
        </p:spPr>
        <p:txBody>
          <a:bodyPr anchor="ctr"/>
          <a:lstStyle/>
          <a:p>
            <a:pPr algn="ctr"/>
            <a:r>
              <a:rPr lang="es-ES" sz="2800" i="1">
                <a:solidFill>
                  <a:schemeClr val="tx2"/>
                </a:solidFill>
              </a:rPr>
              <a:t>Thank you for your attention</a:t>
            </a:r>
          </a:p>
        </p:txBody>
      </p:sp>
      <p:pic>
        <p:nvPicPr>
          <p:cNvPr id="4" name="3 Imagen" descr="saludo.bmp"/>
          <p:cNvPicPr>
            <a:picLocks noChangeAspect="1"/>
          </p:cNvPicPr>
          <p:nvPr/>
        </p:nvPicPr>
        <p:blipFill>
          <a:blip r:embed="rId2" cstate="print"/>
          <a:stretch>
            <a:fillRect/>
          </a:stretch>
        </p:blipFill>
        <p:spPr>
          <a:xfrm>
            <a:off x="1676111" y="2348880"/>
            <a:ext cx="5685627" cy="2948681"/>
          </a:xfrm>
          <a:prstGeom prst="rect">
            <a:avLst/>
          </a:prstGeom>
          <a:effectLst>
            <a:outerShdw blurRad="50800" dist="88900" dir="2700000" algn="tl" rotWithShape="0">
              <a:prstClr val="black">
                <a:alpha val="40000"/>
              </a:prstClr>
            </a:outerShdw>
          </a:effectLst>
          <a:scene3d>
            <a:camera prst="orthographicFront"/>
            <a:lightRig rig="threePt" dir="t"/>
          </a:scene3d>
          <a:sp3d>
            <a:bevelT/>
          </a:sp3d>
        </p:spPr>
      </p:pic>
      <p:sp>
        <p:nvSpPr>
          <p:cNvPr id="5" name="4 CuadroTexto"/>
          <p:cNvSpPr txBox="1"/>
          <p:nvPr/>
        </p:nvSpPr>
        <p:spPr>
          <a:xfrm>
            <a:off x="661988" y="5661025"/>
            <a:ext cx="8280400" cy="461963"/>
          </a:xfrm>
          <a:prstGeom prst="rect">
            <a:avLst/>
          </a:prstGeom>
          <a:noFill/>
        </p:spPr>
        <p:txBody>
          <a:bodyPr>
            <a:spAutoFit/>
          </a:bodyPr>
          <a:lstStyle/>
          <a:p>
            <a:pPr algn="ctr" fontAlgn="auto">
              <a:spcBef>
                <a:spcPts val="0"/>
              </a:spcBef>
              <a:spcAft>
                <a:spcPts val="0"/>
              </a:spcAft>
              <a:defRPr/>
            </a:pPr>
            <a:r>
              <a:rPr lang="es-ES" sz="1200" b="1" dirty="0">
                <a:solidFill>
                  <a:srgbClr val="993300"/>
                </a:solidFill>
                <a:effectLst>
                  <a:outerShdw blurRad="38100" dist="38100" dir="2700000" algn="tl">
                    <a:srgbClr val="000000">
                      <a:alpha val="43137"/>
                    </a:srgbClr>
                  </a:outerShdw>
                </a:effectLst>
                <a:latin typeface="Arial" pitchFamily="34" charset="0"/>
                <a:cs typeface="Arial" pitchFamily="34" charset="0"/>
              </a:rPr>
              <a:t>SUBDIRECCIÓN GENERAL DE RECAUDACIÓN </a:t>
            </a:r>
            <a:br>
              <a:rPr lang="es-ES" sz="1200" b="1" dirty="0">
                <a:solidFill>
                  <a:srgbClr val="993300"/>
                </a:solidFill>
                <a:effectLst>
                  <a:outerShdw blurRad="38100" dist="38100" dir="2700000" algn="tl">
                    <a:srgbClr val="000000">
                      <a:alpha val="43137"/>
                    </a:srgbClr>
                  </a:outerShdw>
                </a:effectLst>
                <a:latin typeface="Arial" pitchFamily="34" charset="0"/>
                <a:cs typeface="Arial" pitchFamily="34" charset="0"/>
              </a:rPr>
            </a:br>
            <a:r>
              <a:rPr lang="es-ES" sz="1200" b="1" dirty="0">
                <a:solidFill>
                  <a:srgbClr val="993300"/>
                </a:solidFill>
                <a:effectLst>
                  <a:outerShdw blurRad="38100" dist="38100" dir="2700000" algn="tl">
                    <a:srgbClr val="000000">
                      <a:alpha val="43137"/>
                    </a:srgbClr>
                  </a:outerShdw>
                </a:effectLst>
                <a:latin typeface="Arial" pitchFamily="34" charset="0"/>
                <a:cs typeface="Arial" pitchFamily="34" charset="0"/>
              </a:rPr>
              <a:t>EN PERIODO VOLUNTARIO</a:t>
            </a:r>
            <a:endParaRPr lang="es-ES" sz="1200" b="1" dirty="0">
              <a:solidFill>
                <a:srgbClr val="993300"/>
              </a:solidFill>
              <a:effectLst>
                <a:outerShdw blurRad="38100" dist="38100" dir="2700000" algn="tl">
                  <a:srgbClr val="000000">
                    <a:alpha val="43137"/>
                  </a:srgbClr>
                </a:outerShdw>
              </a:effectLst>
              <a:latin typeface="Arial" pitchFamily="34" charset="0"/>
              <a:cs typeface="Arial" pitchFamily="34" charset="0"/>
            </a:endParaRPr>
          </a:p>
        </p:txBody>
      </p:sp>
      <p:sp>
        <p:nvSpPr>
          <p:cNvPr id="6" name="5 Rectángulo"/>
          <p:cNvSpPr/>
          <p:nvPr/>
        </p:nvSpPr>
        <p:spPr bwMode="gray">
          <a:xfrm>
            <a:off x="8931275" y="6381750"/>
            <a:ext cx="781050" cy="476250"/>
          </a:xfrm>
          <a:prstGeom prst="rect">
            <a:avLst/>
          </a:prstGeom>
          <a:solidFill>
            <a:schemeClr val="bg1"/>
          </a:solidFill>
          <a:ln w="6350">
            <a:noFill/>
            <a:miter lim="800000"/>
            <a:headEnd/>
            <a:tailEnd/>
          </a:ln>
          <a:effectLst/>
        </p:spPr>
        <p:txBody>
          <a:bodyPr lIns="72000" tIns="72000" rIns="72000" bIns="72000"/>
          <a:lstStyle/>
          <a:p>
            <a:pPr>
              <a:spcBef>
                <a:spcPts val="0"/>
              </a:spcBef>
              <a:spcAft>
                <a:spcPts val="300"/>
              </a:spcAft>
              <a:defRPr/>
            </a:pPr>
            <a:endParaRPr lang="es-ES" sz="1600" kern="0" dirty="0" err="1">
              <a:solidFill>
                <a:sysClr val="windowText" lastClr="000000"/>
              </a:solidFill>
              <a:latin typeface="Arial" pitchFamily="34" charset="0"/>
              <a:cs typeface="Arial" pitchFamily="34" charset="0"/>
            </a:endParaRPr>
          </a:p>
        </p:txBody>
      </p:sp>
      <p:pic>
        <p:nvPicPr>
          <p:cNvPr id="1815558" name="Picture 2"/>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7527925" y="2241550"/>
            <a:ext cx="2144713" cy="19796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7666" name="Title 1"/>
          <p:cNvSpPr>
            <a:spLocks noGrp="1"/>
          </p:cNvSpPr>
          <p:nvPr>
            <p:ph type="title" idx="4294967295"/>
          </p:nvPr>
        </p:nvSpPr>
        <p:spPr>
          <a:xfrm>
            <a:off x="273050" y="188913"/>
            <a:ext cx="8915400" cy="563562"/>
          </a:xfrm>
        </p:spPr>
        <p:txBody>
          <a:bodyPr lIns="0" tIns="0" rIns="0" bIns="72000" anchor="b"/>
          <a:lstStyle/>
          <a:p>
            <a:r>
              <a:rPr lang="en-US" sz="2400" b="0" smtClean="0">
                <a:solidFill>
                  <a:srgbClr val="777777"/>
                </a:solidFill>
                <a:latin typeface="Arial" charset="0"/>
              </a:rPr>
              <a:t>General Treasury of the Social</a:t>
            </a:r>
            <a:r>
              <a:rPr lang="en-US" sz="2400" b="0" smtClean="0">
                <a:solidFill>
                  <a:schemeClr val="bg2"/>
                </a:solidFill>
                <a:latin typeface="Arial" charset="0"/>
              </a:rPr>
              <a:t> </a:t>
            </a:r>
            <a:r>
              <a:rPr lang="en-US" sz="2400" b="0" smtClean="0">
                <a:solidFill>
                  <a:srgbClr val="777777"/>
                </a:solidFill>
                <a:latin typeface="Arial" charset="0"/>
              </a:rPr>
              <a:t>Security</a:t>
            </a:r>
          </a:p>
        </p:txBody>
      </p:sp>
      <p:sp>
        <p:nvSpPr>
          <p:cNvPr id="1777667" name="Content Placeholder 2"/>
          <p:cNvSpPr>
            <a:spLocks noGrp="1"/>
          </p:cNvSpPr>
          <p:nvPr>
            <p:ph idx="4294967295"/>
          </p:nvPr>
        </p:nvSpPr>
        <p:spPr>
          <a:xfrm>
            <a:off x="415925" y="1125538"/>
            <a:ext cx="8423275" cy="4808537"/>
          </a:xfrm>
          <a:ln/>
        </p:spPr>
        <p:txBody>
          <a:bodyPr/>
          <a:lstStyle/>
          <a:p>
            <a:pPr marL="174625" indent="-174625" algn="just">
              <a:buClr>
                <a:schemeClr val="accent2"/>
              </a:buClr>
            </a:pPr>
            <a:r>
              <a:rPr lang="en-US" i="1" smtClean="0">
                <a:solidFill>
                  <a:schemeClr val="tx2"/>
                </a:solidFill>
                <a:latin typeface="Arial" charset="0"/>
              </a:rPr>
              <a:t>Social Security General Treasury is the entity responsible for the collection and management of economic and financial resources of the Social Security.</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02" name="Title 1"/>
          <p:cNvSpPr>
            <a:spLocks noGrp="1"/>
          </p:cNvSpPr>
          <p:nvPr>
            <p:ph type="title" idx="4294967295"/>
          </p:nvPr>
        </p:nvSpPr>
        <p:spPr>
          <a:xfrm>
            <a:off x="273050" y="188913"/>
            <a:ext cx="8915400" cy="561975"/>
          </a:xfrm>
        </p:spPr>
        <p:txBody>
          <a:bodyPr lIns="0" tIns="0" rIns="0" bIns="72000" anchor="b"/>
          <a:lstStyle/>
          <a:p>
            <a:r>
              <a:rPr lang="en-US" sz="2400" smtClean="0">
                <a:solidFill>
                  <a:srgbClr val="777777"/>
                </a:solidFill>
              </a:rPr>
              <a:t>The challenge</a:t>
            </a:r>
          </a:p>
        </p:txBody>
      </p:sp>
      <p:sp>
        <p:nvSpPr>
          <p:cNvPr id="1792003" name="Text Placeholder 3"/>
          <p:cNvSpPr>
            <a:spLocks noGrp="1"/>
          </p:cNvSpPr>
          <p:nvPr>
            <p:ph type="body" sz="quarter" idx="4294967295"/>
          </p:nvPr>
        </p:nvSpPr>
        <p:spPr>
          <a:xfrm>
            <a:off x="560388" y="1125538"/>
            <a:ext cx="8891587" cy="576262"/>
          </a:xfrm>
          <a:ln/>
        </p:spPr>
        <p:txBody>
          <a:bodyPr/>
          <a:lstStyle/>
          <a:p>
            <a:pPr marL="0" indent="0">
              <a:buFont typeface="Arial" charset="0"/>
              <a:buNone/>
            </a:pPr>
            <a:r>
              <a:rPr lang="en-US" sz="3600" b="1" i="1" smtClean="0">
                <a:solidFill>
                  <a:schemeClr val="tx2"/>
                </a:solidFill>
              </a:rPr>
              <a:t>Big deal with Big responsibilities</a:t>
            </a:r>
          </a:p>
        </p:txBody>
      </p:sp>
      <p:sp>
        <p:nvSpPr>
          <p:cNvPr id="6" name="Content Placeholder 2"/>
          <p:cNvSpPr>
            <a:spLocks noGrp="1"/>
          </p:cNvSpPr>
          <p:nvPr>
            <p:ph idx="4294967295"/>
          </p:nvPr>
        </p:nvSpPr>
        <p:spPr>
          <a:xfrm>
            <a:off x="473561" y="2014432"/>
            <a:ext cx="8914749" cy="4512499"/>
          </a:xfrm>
          <a:noFill/>
          <a:ln/>
        </p:spPr>
        <p:txBody>
          <a:bodyPr>
            <a:normAutofit/>
          </a:bodyPr>
          <a:lstStyle/>
          <a:p>
            <a:pPr marL="174625" indent="-174625" algn="just">
              <a:spcBef>
                <a:spcPts val="300"/>
              </a:spcBef>
              <a:spcAft>
                <a:spcPts val="300"/>
              </a:spcAft>
              <a:buClr>
                <a:schemeClr val="accent2"/>
              </a:buClr>
              <a:buSzTx/>
              <a:buFont typeface="Arial" charset="0"/>
              <a:buChar char="•"/>
              <a:defRPr/>
            </a:pPr>
            <a:r>
              <a:rPr lang="en-US" sz="2000" b="1" dirty="0" smtClean="0">
                <a:solidFill>
                  <a:srgbClr val="17375E"/>
                </a:solidFill>
                <a:latin typeface="+mn-lt"/>
              </a:rPr>
              <a:t>The</a:t>
            </a:r>
            <a:r>
              <a:rPr lang="en-US" sz="1800" b="1" dirty="0" smtClean="0">
                <a:solidFill>
                  <a:srgbClr val="17375E"/>
                </a:solidFill>
                <a:latin typeface="+mn-lt"/>
              </a:rPr>
              <a:t> </a:t>
            </a:r>
            <a:r>
              <a:rPr lang="en-US" sz="2000" b="1" kern="0" dirty="0" smtClean="0">
                <a:solidFill>
                  <a:srgbClr val="17375E"/>
                </a:solidFill>
                <a:latin typeface="+mn-lt"/>
              </a:rPr>
              <a:t>main challenge for </a:t>
            </a:r>
            <a:r>
              <a:rPr lang="en-US" sz="2000" b="1" kern="0" dirty="0">
                <a:solidFill>
                  <a:srgbClr val="17375E"/>
                </a:solidFill>
                <a:latin typeface="+mn-lt"/>
              </a:rPr>
              <a:t>TGSS </a:t>
            </a:r>
            <a:r>
              <a:rPr lang="en-US" sz="2000" kern="0" dirty="0">
                <a:solidFill>
                  <a:srgbClr val="17375E"/>
                </a:solidFill>
                <a:latin typeface="+mn-lt"/>
              </a:rPr>
              <a:t>is </a:t>
            </a:r>
            <a:r>
              <a:rPr lang="en-US" sz="2000" kern="0" dirty="0" smtClean="0">
                <a:solidFill>
                  <a:srgbClr val="17375E"/>
                </a:solidFill>
                <a:latin typeface="+mn-lt"/>
              </a:rPr>
              <a:t>to deliver efficiency improvements </a:t>
            </a:r>
            <a:r>
              <a:rPr lang="en-US" sz="2000" kern="0" dirty="0">
                <a:solidFill>
                  <a:srgbClr val="17375E"/>
                </a:solidFill>
                <a:latin typeface="+mn-lt"/>
              </a:rPr>
              <a:t>and to do this, it is required to develop a strategy against fraud and irregular </a:t>
            </a:r>
            <a:r>
              <a:rPr lang="en-US" sz="2000" kern="0" dirty="0" smtClean="0">
                <a:solidFill>
                  <a:srgbClr val="17375E"/>
                </a:solidFill>
                <a:latin typeface="+mn-lt"/>
              </a:rPr>
              <a:t>employment.</a:t>
            </a:r>
          </a:p>
          <a:p>
            <a:pPr marL="174625" indent="-174625" algn="just">
              <a:spcBef>
                <a:spcPts val="300"/>
              </a:spcBef>
              <a:spcAft>
                <a:spcPts val="300"/>
              </a:spcAft>
              <a:buClr>
                <a:schemeClr val="accent2"/>
              </a:buClr>
              <a:buSzTx/>
              <a:buFont typeface="Arial" charset="0"/>
              <a:buChar char="•"/>
              <a:defRPr/>
            </a:pPr>
            <a:endParaRPr lang="en-US" sz="2000" kern="0" dirty="0" smtClean="0">
              <a:solidFill>
                <a:srgbClr val="17375E"/>
              </a:solidFill>
              <a:latin typeface="+mn-lt"/>
            </a:endParaRPr>
          </a:p>
          <a:p>
            <a:pPr marL="174625" indent="-174625" algn="just">
              <a:spcBef>
                <a:spcPts val="300"/>
              </a:spcBef>
              <a:spcAft>
                <a:spcPts val="300"/>
              </a:spcAft>
              <a:buClr>
                <a:schemeClr val="accent2"/>
              </a:buClr>
              <a:buSzTx/>
              <a:buFont typeface="Arial" charset="0"/>
              <a:buChar char="•"/>
              <a:defRPr/>
            </a:pPr>
            <a:r>
              <a:rPr lang="en-US" sz="2000" kern="0" dirty="0" smtClean="0">
                <a:solidFill>
                  <a:srgbClr val="17375E"/>
                </a:solidFill>
                <a:latin typeface="+mn-lt"/>
              </a:rPr>
              <a:t>Lines of attack:</a:t>
            </a:r>
          </a:p>
          <a:p>
            <a:pPr marL="363538" lvl="1" indent="-188913">
              <a:spcBef>
                <a:spcPts val="300"/>
              </a:spcBef>
              <a:spcAft>
                <a:spcPts val="300"/>
              </a:spcAft>
              <a:buClr>
                <a:schemeClr val="accent2"/>
              </a:buClr>
              <a:defRPr/>
            </a:pPr>
            <a:r>
              <a:rPr lang="en-US" sz="2000" kern="0" dirty="0" smtClean="0">
                <a:solidFill>
                  <a:srgbClr val="17375E"/>
                </a:solidFill>
                <a:latin typeface="+mn-lt"/>
              </a:rPr>
              <a:t>Integrate </a:t>
            </a:r>
            <a:r>
              <a:rPr lang="en-US" sz="2000" b="1" kern="0" dirty="0">
                <a:solidFill>
                  <a:srgbClr val="17375E"/>
                </a:solidFill>
                <a:latin typeface="+mn-lt"/>
              </a:rPr>
              <a:t>fighting fraud </a:t>
            </a:r>
            <a:r>
              <a:rPr lang="en-US" sz="2000" b="1" kern="0" dirty="0" smtClean="0">
                <a:solidFill>
                  <a:srgbClr val="17375E"/>
                </a:solidFill>
                <a:latin typeface="+mn-lt"/>
              </a:rPr>
              <a:t>within </a:t>
            </a:r>
            <a:r>
              <a:rPr lang="en-US" sz="2000" kern="0" dirty="0">
                <a:solidFill>
                  <a:srgbClr val="17375E"/>
                </a:solidFill>
                <a:latin typeface="+mn-lt"/>
              </a:rPr>
              <a:t>all management procedures of the </a:t>
            </a:r>
            <a:r>
              <a:rPr lang="en-US" sz="2000" kern="0" dirty="0" smtClean="0">
                <a:solidFill>
                  <a:srgbClr val="17375E"/>
                </a:solidFill>
                <a:latin typeface="+mn-lt"/>
              </a:rPr>
              <a:t>TGSS</a:t>
            </a:r>
          </a:p>
          <a:p>
            <a:pPr marL="363538" lvl="1" indent="-188913" algn="just">
              <a:spcBef>
                <a:spcPts val="300"/>
              </a:spcBef>
              <a:spcAft>
                <a:spcPts val="300"/>
              </a:spcAft>
              <a:buClr>
                <a:schemeClr val="accent2"/>
              </a:buClr>
              <a:defRPr/>
            </a:pPr>
            <a:r>
              <a:rPr lang="en-US" sz="2000" kern="0" dirty="0" smtClean="0">
                <a:solidFill>
                  <a:srgbClr val="17375E"/>
                </a:solidFill>
                <a:latin typeface="+mn-lt"/>
              </a:rPr>
              <a:t>Merge </a:t>
            </a:r>
            <a:r>
              <a:rPr lang="en-US" sz="2000" kern="0" dirty="0">
                <a:solidFill>
                  <a:srgbClr val="17375E"/>
                </a:solidFill>
                <a:latin typeface="+mn-lt"/>
              </a:rPr>
              <a:t>and debug all different available information </a:t>
            </a:r>
            <a:r>
              <a:rPr lang="en-US" sz="2000" kern="0" dirty="0" smtClean="0">
                <a:solidFill>
                  <a:srgbClr val="17375E"/>
                </a:solidFill>
                <a:latin typeface="+mn-lt"/>
              </a:rPr>
              <a:t>sources.</a:t>
            </a:r>
          </a:p>
          <a:p>
            <a:pPr marL="363538" lvl="1" indent="-188913" algn="just">
              <a:spcBef>
                <a:spcPts val="300"/>
              </a:spcBef>
              <a:spcAft>
                <a:spcPts val="300"/>
              </a:spcAft>
              <a:buClr>
                <a:schemeClr val="accent2"/>
              </a:buClr>
              <a:defRPr/>
            </a:pPr>
            <a:r>
              <a:rPr lang="en-US" sz="2000" kern="0" dirty="0" smtClean="0">
                <a:solidFill>
                  <a:srgbClr val="17375E"/>
                </a:solidFill>
                <a:latin typeface="+mn-lt"/>
              </a:rPr>
              <a:t>Analysis </a:t>
            </a:r>
            <a:r>
              <a:rPr lang="en-US" sz="2000" kern="0" dirty="0">
                <a:solidFill>
                  <a:srgbClr val="17375E"/>
                </a:solidFill>
                <a:latin typeface="+mn-lt"/>
              </a:rPr>
              <a:t>techniques for focusing </a:t>
            </a:r>
            <a:r>
              <a:rPr lang="en-US" sz="2000" kern="0" dirty="0" smtClean="0">
                <a:solidFill>
                  <a:srgbClr val="17375E"/>
                </a:solidFill>
                <a:latin typeface="+mn-lt"/>
              </a:rPr>
              <a:t>actions</a:t>
            </a:r>
            <a:endParaRPr lang="en-US" sz="2000" strike="sngStrike" kern="0" dirty="0" smtClean="0">
              <a:solidFill>
                <a:srgbClr val="17375E"/>
              </a:solidFill>
              <a:latin typeface="+mn-lt"/>
            </a:endParaRPr>
          </a:p>
          <a:p>
            <a:pPr marL="363538" lvl="1" indent="-188913" algn="just">
              <a:spcBef>
                <a:spcPts val="300"/>
              </a:spcBef>
              <a:spcAft>
                <a:spcPts val="300"/>
              </a:spcAft>
              <a:buClr>
                <a:schemeClr val="accent2"/>
              </a:buClr>
              <a:defRPr/>
            </a:pPr>
            <a:r>
              <a:rPr lang="en-US" sz="2000" kern="0" dirty="0" smtClean="0">
                <a:solidFill>
                  <a:srgbClr val="17375E"/>
                </a:solidFill>
                <a:latin typeface="+mn-lt"/>
              </a:rPr>
              <a:t>Intensify </a:t>
            </a:r>
            <a:r>
              <a:rPr lang="en-US" sz="2000" kern="0" dirty="0">
                <a:solidFill>
                  <a:srgbClr val="17375E"/>
                </a:solidFill>
                <a:latin typeface="+mn-lt"/>
              </a:rPr>
              <a:t>Social Security inspection capacities</a:t>
            </a:r>
          </a:p>
          <a:p>
            <a:pPr marL="174625" indent="-174625" algn="just">
              <a:spcBef>
                <a:spcPts val="300"/>
              </a:spcBef>
              <a:spcAft>
                <a:spcPts val="300"/>
              </a:spcAft>
              <a:buClr>
                <a:schemeClr val="accent2"/>
              </a:buClr>
              <a:buSzTx/>
              <a:buFont typeface="Arial" charset="0"/>
              <a:buChar char="•"/>
              <a:defRPr/>
            </a:pPr>
            <a:endParaRPr lang="en-US" sz="2000" kern="0" dirty="0">
              <a:solidFill>
                <a:srgbClr val="17375E"/>
              </a:solidFill>
              <a:latin typeface="+mn-lt"/>
            </a:endParaRPr>
          </a:p>
          <a:p>
            <a:pPr marL="0" indent="0">
              <a:spcBef>
                <a:spcPts val="300"/>
              </a:spcBef>
              <a:spcAft>
                <a:spcPts val="300"/>
              </a:spcAft>
              <a:buClr>
                <a:schemeClr val="accent2"/>
              </a:buClr>
              <a:buSzTx/>
              <a:buFont typeface="Arial" charset="0"/>
              <a:buNone/>
              <a:defRPr/>
            </a:pPr>
            <a:endParaRPr lang="en-US" sz="2000" kern="0" dirty="0">
              <a:solidFill>
                <a:srgbClr val="17375E"/>
              </a:solidFill>
              <a:latin typeface="+mn-l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3"/>
          <p:cNvSpPr/>
          <p:nvPr/>
        </p:nvSpPr>
        <p:spPr>
          <a:xfrm>
            <a:off x="1130437" y="1782826"/>
            <a:ext cx="3431862" cy="1296144"/>
          </a:xfrm>
          <a:prstGeom prst="rect">
            <a:avLst/>
          </a:prstGeom>
          <a:solidFill>
            <a:srgbClr val="F79646">
              <a:lumMod val="60000"/>
              <a:lumOff val="40000"/>
            </a:srgbClr>
          </a:solidFill>
          <a:ln w="25400" cap="flat" cmpd="sng" algn="ctr">
            <a:solidFill>
              <a:srgbClr val="F79646"/>
            </a:solidFill>
            <a:prstDash val="solid"/>
          </a:ln>
          <a:effectLst/>
          <a:scene3d>
            <a:camera prst="orthographicFront"/>
            <a:lightRig rig="threePt" dir="t"/>
          </a:scene3d>
          <a:sp3d>
            <a:bevelT/>
          </a:sp3d>
        </p:spPr>
        <p:txBody>
          <a:bodyPr anchor="ctr"/>
          <a:lstStyle/>
          <a:p>
            <a:pPr marL="285750" indent="-285750" algn="ctr" fontAlgn="auto">
              <a:spcBef>
                <a:spcPts val="0"/>
              </a:spcBef>
              <a:spcAft>
                <a:spcPts val="600"/>
              </a:spcAft>
              <a:defRPr/>
            </a:pPr>
            <a:r>
              <a:rPr lang="es-ES" sz="1400" b="1" kern="0" dirty="0">
                <a:solidFill>
                  <a:srgbClr val="17375E"/>
                </a:solidFill>
                <a:latin typeface="Calibri"/>
                <a:cs typeface="+mn-cs"/>
              </a:rPr>
              <a:t>CONTROL OF PROCESSES</a:t>
            </a:r>
          </a:p>
          <a:p>
            <a:pPr marL="285750" indent="-285750" algn="ctr" fontAlgn="auto">
              <a:spcBef>
                <a:spcPts val="0"/>
              </a:spcBef>
              <a:spcAft>
                <a:spcPts val="600"/>
              </a:spcAft>
              <a:defRPr/>
            </a:pPr>
            <a:r>
              <a:rPr lang="en-US" sz="1100" b="1" kern="0" dirty="0">
                <a:solidFill>
                  <a:srgbClr val="17375E"/>
                </a:solidFill>
                <a:latin typeface="Calibri"/>
                <a:cs typeface="+mn-cs"/>
              </a:rPr>
              <a:t>Employee identity</a:t>
            </a:r>
          </a:p>
          <a:p>
            <a:pPr marL="285750" indent="-285750" algn="ctr" fontAlgn="auto">
              <a:spcBef>
                <a:spcPts val="0"/>
              </a:spcBef>
              <a:spcAft>
                <a:spcPts val="600"/>
              </a:spcAft>
              <a:defRPr/>
            </a:pPr>
            <a:r>
              <a:rPr lang="en-US" sz="1100" b="1" kern="0" dirty="0">
                <a:solidFill>
                  <a:srgbClr val="17375E"/>
                </a:solidFill>
                <a:latin typeface="Calibri"/>
                <a:cs typeface="+mn-cs"/>
              </a:rPr>
              <a:t>Inscription controls</a:t>
            </a:r>
          </a:p>
          <a:p>
            <a:pPr marL="285750" indent="-285750" algn="ctr" fontAlgn="auto">
              <a:spcBef>
                <a:spcPts val="0"/>
              </a:spcBef>
              <a:spcAft>
                <a:spcPts val="600"/>
              </a:spcAft>
              <a:defRPr/>
            </a:pPr>
            <a:r>
              <a:rPr lang="en-US" sz="1100" b="1" kern="0" dirty="0">
                <a:solidFill>
                  <a:srgbClr val="17375E"/>
                </a:solidFill>
                <a:latin typeface="Calibri"/>
                <a:cs typeface="+mn-cs"/>
              </a:rPr>
              <a:t>Omitted and irregular info</a:t>
            </a:r>
          </a:p>
          <a:p>
            <a:pPr marL="285750" indent="-285750" algn="ctr" fontAlgn="auto">
              <a:spcBef>
                <a:spcPts val="0"/>
              </a:spcBef>
              <a:spcAft>
                <a:spcPts val="600"/>
              </a:spcAft>
              <a:defRPr/>
            </a:pPr>
            <a:r>
              <a:rPr lang="en-US" sz="1100" b="1" kern="0" dirty="0">
                <a:solidFill>
                  <a:srgbClr val="17375E"/>
                </a:solidFill>
                <a:latin typeface="Calibri"/>
                <a:cs typeface="+mn-cs"/>
              </a:rPr>
              <a:t>Exclusions and deductions</a:t>
            </a:r>
            <a:endParaRPr lang="es-ES" sz="1400" b="1" kern="0" dirty="0">
              <a:solidFill>
                <a:srgbClr val="17375E"/>
              </a:solidFill>
              <a:latin typeface="Calibri"/>
              <a:cs typeface="+mn-cs"/>
            </a:endParaRPr>
          </a:p>
        </p:txBody>
      </p:sp>
      <p:cxnSp>
        <p:nvCxnSpPr>
          <p:cNvPr id="33" name="32 Conector recto"/>
          <p:cNvCxnSpPr/>
          <p:nvPr/>
        </p:nvCxnSpPr>
        <p:spPr>
          <a:xfrm>
            <a:off x="4211638" y="2416175"/>
            <a:ext cx="360362" cy="0"/>
          </a:xfrm>
          <a:prstGeom prst="line">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sp>
        <p:nvSpPr>
          <p:cNvPr id="34" name="Rectangle 33"/>
          <p:cNvSpPr/>
          <p:nvPr/>
        </p:nvSpPr>
        <p:spPr>
          <a:xfrm>
            <a:off x="4953395" y="3078212"/>
            <a:ext cx="1872079" cy="480306"/>
          </a:xfrm>
          <a:prstGeom prst="rect">
            <a:avLst/>
          </a:prstGeom>
          <a:solidFill>
            <a:sysClr val="window" lastClr="FFFFFF">
              <a:lumMod val="95000"/>
            </a:sysClr>
          </a:solidFill>
          <a:ln w="3175" cap="flat" cmpd="sng" algn="ctr">
            <a:solidFill>
              <a:sysClr val="windowText" lastClr="000000"/>
            </a:solidFill>
            <a:prstDash val="solid"/>
          </a:ln>
          <a:effectLst/>
          <a:scene3d>
            <a:camera prst="orthographicFront"/>
            <a:lightRig rig="threePt" dir="t"/>
          </a:scene3d>
          <a:sp3d>
            <a:bevelT prst="angle"/>
          </a:sp3d>
        </p:spPr>
        <p:txBody>
          <a:bodyPr tIns="0" anchor="ctr"/>
          <a:lstStyle/>
          <a:p>
            <a:pPr indent="-285750" algn="ctr" fontAlgn="auto">
              <a:spcBef>
                <a:spcPts val="0"/>
              </a:spcBef>
              <a:spcAft>
                <a:spcPts val="600"/>
              </a:spcAft>
              <a:defRPr/>
            </a:pPr>
            <a:r>
              <a:rPr lang="en-US" sz="1200" b="1" kern="0" dirty="0">
                <a:solidFill>
                  <a:srgbClr val="17375E"/>
                </a:solidFill>
                <a:latin typeface="Calibri"/>
                <a:cs typeface="+mn-cs"/>
              </a:rPr>
              <a:t>Payment processes</a:t>
            </a:r>
          </a:p>
        </p:txBody>
      </p:sp>
      <p:sp>
        <p:nvSpPr>
          <p:cNvPr id="38" name="Rectangle 33"/>
          <p:cNvSpPr/>
          <p:nvPr/>
        </p:nvSpPr>
        <p:spPr>
          <a:xfrm>
            <a:off x="4953395" y="2128262"/>
            <a:ext cx="1872079" cy="576064"/>
          </a:xfrm>
          <a:prstGeom prst="rect">
            <a:avLst/>
          </a:prstGeom>
          <a:solidFill>
            <a:sysClr val="window" lastClr="FFFFFF">
              <a:lumMod val="95000"/>
            </a:sysClr>
          </a:solidFill>
          <a:ln w="3175" cap="flat" cmpd="sng" algn="ctr">
            <a:solidFill>
              <a:sysClr val="windowText" lastClr="000000"/>
            </a:solidFill>
            <a:prstDash val="solid"/>
          </a:ln>
          <a:effectLst/>
          <a:scene3d>
            <a:camera prst="orthographicFront"/>
            <a:lightRig rig="threePt" dir="t"/>
          </a:scene3d>
          <a:sp3d>
            <a:bevelT prst="angle"/>
          </a:sp3d>
        </p:spPr>
        <p:txBody>
          <a:bodyPr tIns="0" anchor="ctr"/>
          <a:lstStyle/>
          <a:p>
            <a:pPr indent="-285750" algn="ctr" fontAlgn="auto">
              <a:spcBef>
                <a:spcPts val="0"/>
              </a:spcBef>
              <a:spcAft>
                <a:spcPts val="600"/>
              </a:spcAft>
              <a:defRPr/>
            </a:pPr>
            <a:r>
              <a:rPr lang="en-US" sz="1200" b="1" kern="0" dirty="0">
                <a:solidFill>
                  <a:srgbClr val="17375E"/>
                </a:solidFill>
                <a:latin typeface="Calibri"/>
                <a:cs typeface="+mn-cs"/>
              </a:rPr>
              <a:t>Inscription controls, deductions, …</a:t>
            </a:r>
            <a:endParaRPr lang="en-US" sz="1200" b="1" kern="0" dirty="0">
              <a:solidFill>
                <a:srgbClr val="17375E"/>
              </a:solidFill>
              <a:latin typeface="Calibri"/>
              <a:cs typeface="+mn-cs"/>
            </a:endParaRPr>
          </a:p>
        </p:txBody>
      </p:sp>
      <p:sp>
        <p:nvSpPr>
          <p:cNvPr id="39" name="Rectangle 33"/>
          <p:cNvSpPr/>
          <p:nvPr/>
        </p:nvSpPr>
        <p:spPr>
          <a:xfrm>
            <a:off x="1130437" y="3532284"/>
            <a:ext cx="3431862" cy="953032"/>
          </a:xfrm>
          <a:prstGeom prst="rect">
            <a:avLst/>
          </a:prstGeom>
          <a:solidFill>
            <a:srgbClr val="4BACC6">
              <a:lumMod val="20000"/>
              <a:lumOff val="80000"/>
            </a:srgbClr>
          </a:solidFill>
          <a:ln w="25400" cap="flat" cmpd="sng" algn="ctr">
            <a:solidFill>
              <a:srgbClr val="4BACC6"/>
            </a:solidFill>
            <a:prstDash val="solid"/>
          </a:ln>
          <a:effectLst/>
          <a:scene3d>
            <a:camera prst="orthographicFront"/>
            <a:lightRig rig="threePt" dir="t"/>
          </a:scene3d>
          <a:sp3d>
            <a:bevelT/>
          </a:sp3d>
        </p:spPr>
        <p:txBody>
          <a:bodyPr anchor="ctr"/>
          <a:lstStyle/>
          <a:p>
            <a:pPr marL="285750" indent="-285750" algn="ctr" fontAlgn="auto">
              <a:spcBef>
                <a:spcPts val="0"/>
              </a:spcBef>
              <a:spcAft>
                <a:spcPts val="600"/>
              </a:spcAft>
              <a:defRPr/>
            </a:pPr>
            <a:r>
              <a:rPr lang="es-ES" sz="1400" b="1" kern="0" dirty="0">
                <a:solidFill>
                  <a:srgbClr val="17375E"/>
                </a:solidFill>
                <a:latin typeface="Calibri"/>
                <a:cs typeface="+mn-cs"/>
              </a:rPr>
              <a:t>FICTICIOUS BUSINESS</a:t>
            </a:r>
          </a:p>
          <a:p>
            <a:pPr marL="285750" indent="-285750" algn="ctr" fontAlgn="auto">
              <a:spcBef>
                <a:spcPts val="0"/>
              </a:spcBef>
              <a:spcAft>
                <a:spcPts val="600"/>
              </a:spcAft>
              <a:defRPr/>
            </a:pPr>
            <a:r>
              <a:rPr lang="en-US" sz="1100" b="1" kern="0" dirty="0">
                <a:solidFill>
                  <a:srgbClr val="17375E"/>
                </a:solidFill>
                <a:latin typeface="Calibri"/>
                <a:cs typeface="+mn-cs"/>
              </a:rPr>
              <a:t>Fictitious business</a:t>
            </a:r>
          </a:p>
          <a:p>
            <a:pPr marL="285750" indent="-285750" algn="ctr" fontAlgn="auto">
              <a:spcBef>
                <a:spcPts val="0"/>
              </a:spcBef>
              <a:spcAft>
                <a:spcPts val="600"/>
              </a:spcAft>
              <a:defRPr/>
            </a:pPr>
            <a:r>
              <a:rPr lang="en-US" sz="1100" b="1" kern="0" dirty="0">
                <a:solidFill>
                  <a:srgbClr val="17375E"/>
                </a:solidFill>
                <a:latin typeface="Calibri"/>
                <a:cs typeface="+mn-cs"/>
              </a:rPr>
              <a:t>Probability of risk evolution</a:t>
            </a:r>
          </a:p>
          <a:p>
            <a:pPr marL="285750" indent="-285750" algn="ctr" fontAlgn="auto">
              <a:spcBef>
                <a:spcPts val="0"/>
              </a:spcBef>
              <a:spcAft>
                <a:spcPts val="600"/>
              </a:spcAft>
              <a:defRPr/>
            </a:pPr>
            <a:r>
              <a:rPr lang="en-US" sz="1100" b="1" kern="0" dirty="0">
                <a:solidFill>
                  <a:srgbClr val="17375E"/>
                </a:solidFill>
                <a:latin typeface="Calibri"/>
                <a:cs typeface="+mn-cs"/>
              </a:rPr>
              <a:t>Delay in payment prevention</a:t>
            </a:r>
          </a:p>
        </p:txBody>
      </p:sp>
      <p:sp>
        <p:nvSpPr>
          <p:cNvPr id="40" name="Rectangle 33"/>
          <p:cNvSpPr/>
          <p:nvPr/>
        </p:nvSpPr>
        <p:spPr>
          <a:xfrm>
            <a:off x="1130437" y="5601673"/>
            <a:ext cx="3431862" cy="1008112"/>
          </a:xfrm>
          <a:prstGeom prst="rect">
            <a:avLst/>
          </a:prstGeom>
          <a:solidFill>
            <a:srgbClr val="9BBB59">
              <a:lumMod val="20000"/>
              <a:lumOff val="80000"/>
            </a:srgbClr>
          </a:solidFill>
          <a:ln w="25400" cap="flat" cmpd="sng" algn="ctr">
            <a:solidFill>
              <a:srgbClr val="9BBB59"/>
            </a:solidFill>
            <a:prstDash val="solid"/>
          </a:ln>
          <a:effectLst/>
          <a:scene3d>
            <a:camera prst="orthographicFront"/>
            <a:lightRig rig="threePt" dir="t"/>
          </a:scene3d>
          <a:sp3d>
            <a:bevelT/>
          </a:sp3d>
        </p:spPr>
        <p:txBody>
          <a:bodyPr anchor="ctr"/>
          <a:lstStyle/>
          <a:p>
            <a:pPr marL="285750" indent="-285750" algn="ctr" fontAlgn="auto">
              <a:spcBef>
                <a:spcPts val="0"/>
              </a:spcBef>
              <a:spcAft>
                <a:spcPts val="600"/>
              </a:spcAft>
              <a:defRPr/>
            </a:pPr>
            <a:r>
              <a:rPr lang="en-US" sz="1400" b="1" kern="0" dirty="0">
                <a:solidFill>
                  <a:srgbClr val="17375E"/>
                </a:solidFill>
                <a:latin typeface="Calibri"/>
                <a:cs typeface="+mn-cs"/>
              </a:rPr>
              <a:t>HIDE PROPERTY IN </a:t>
            </a:r>
          </a:p>
          <a:p>
            <a:pPr marL="285750" indent="-285750" algn="ctr" fontAlgn="auto">
              <a:spcBef>
                <a:spcPts val="0"/>
              </a:spcBef>
              <a:spcAft>
                <a:spcPts val="600"/>
              </a:spcAft>
              <a:defRPr/>
            </a:pPr>
            <a:r>
              <a:rPr lang="en-US" sz="1400" b="1" kern="0" dirty="0">
                <a:solidFill>
                  <a:srgbClr val="17375E"/>
                </a:solidFill>
                <a:latin typeface="Calibri"/>
                <a:cs typeface="+mn-cs"/>
              </a:rPr>
              <a:t>COMPANIES IN DEBT</a:t>
            </a:r>
          </a:p>
          <a:p>
            <a:pPr algn="ctr" fontAlgn="auto">
              <a:spcBef>
                <a:spcPts val="0"/>
              </a:spcBef>
              <a:spcAft>
                <a:spcPts val="600"/>
              </a:spcAft>
              <a:defRPr/>
            </a:pPr>
            <a:r>
              <a:rPr lang="en-US" sz="1100" b="1" kern="0" dirty="0">
                <a:solidFill>
                  <a:srgbClr val="17375E"/>
                </a:solidFill>
                <a:latin typeface="Calibri"/>
                <a:cs typeface="+mn-cs"/>
              </a:rPr>
              <a:t>Insolvent companies </a:t>
            </a:r>
          </a:p>
          <a:p>
            <a:pPr algn="ctr" fontAlgn="auto">
              <a:spcBef>
                <a:spcPts val="0"/>
              </a:spcBef>
              <a:spcAft>
                <a:spcPts val="600"/>
              </a:spcAft>
              <a:defRPr/>
            </a:pPr>
            <a:r>
              <a:rPr lang="en-US" sz="1100" b="1" kern="0" dirty="0">
                <a:solidFill>
                  <a:srgbClr val="17375E"/>
                </a:solidFill>
                <a:latin typeface="Calibri"/>
                <a:cs typeface="+mn-cs"/>
              </a:rPr>
              <a:t>Responsibilities derivation</a:t>
            </a:r>
          </a:p>
        </p:txBody>
      </p:sp>
      <p:sp>
        <p:nvSpPr>
          <p:cNvPr id="41" name="Rectangle 33"/>
          <p:cNvSpPr/>
          <p:nvPr/>
        </p:nvSpPr>
        <p:spPr>
          <a:xfrm>
            <a:off x="1130437" y="4612404"/>
            <a:ext cx="3431862" cy="864096"/>
          </a:xfrm>
          <a:prstGeom prst="rect">
            <a:avLst/>
          </a:prstGeom>
          <a:solidFill>
            <a:srgbClr val="8064A2">
              <a:lumMod val="20000"/>
              <a:lumOff val="80000"/>
            </a:srgbClr>
          </a:solidFill>
          <a:ln w="25400" cap="flat" cmpd="sng" algn="ctr">
            <a:solidFill>
              <a:srgbClr val="8064A2"/>
            </a:solidFill>
            <a:prstDash val="solid"/>
          </a:ln>
          <a:effectLst/>
          <a:scene3d>
            <a:camera prst="orthographicFront"/>
            <a:lightRig rig="threePt" dir="t"/>
          </a:scene3d>
          <a:sp3d>
            <a:bevelT/>
          </a:sp3d>
        </p:spPr>
        <p:txBody>
          <a:bodyPr anchor="ctr"/>
          <a:lstStyle/>
          <a:p>
            <a:pPr marL="285750" indent="-285750" algn="ctr" fontAlgn="auto">
              <a:spcBef>
                <a:spcPts val="0"/>
              </a:spcBef>
              <a:spcAft>
                <a:spcPts val="600"/>
              </a:spcAft>
              <a:defRPr/>
            </a:pPr>
            <a:r>
              <a:rPr lang="es-ES" sz="1400" b="1" kern="0" dirty="0">
                <a:solidFill>
                  <a:srgbClr val="17375E"/>
                </a:solidFill>
                <a:latin typeface="Calibri"/>
                <a:cs typeface="+mn-cs"/>
              </a:rPr>
              <a:t>IRREGULAR EMPLOYMENT</a:t>
            </a:r>
          </a:p>
          <a:p>
            <a:pPr algn="ctr" fontAlgn="auto">
              <a:spcBef>
                <a:spcPts val="0"/>
              </a:spcBef>
              <a:spcAft>
                <a:spcPts val="600"/>
              </a:spcAft>
              <a:tabLst>
                <a:tab pos="0" algn="l"/>
              </a:tabLst>
              <a:defRPr/>
            </a:pPr>
            <a:r>
              <a:rPr lang="en-US" sz="1100" b="1" kern="0" dirty="0">
                <a:solidFill>
                  <a:srgbClr val="17375E"/>
                </a:solidFill>
                <a:latin typeface="Calibri"/>
                <a:cs typeface="+mn-cs"/>
              </a:rPr>
              <a:t>Workers not registered</a:t>
            </a:r>
          </a:p>
          <a:p>
            <a:pPr algn="ctr" fontAlgn="auto">
              <a:spcBef>
                <a:spcPts val="0"/>
              </a:spcBef>
              <a:spcAft>
                <a:spcPts val="600"/>
              </a:spcAft>
              <a:tabLst>
                <a:tab pos="0" algn="l"/>
              </a:tabLst>
              <a:defRPr/>
            </a:pPr>
            <a:r>
              <a:rPr lang="en-US" sz="1100" b="1" kern="0" dirty="0">
                <a:solidFill>
                  <a:srgbClr val="17375E"/>
                </a:solidFill>
                <a:latin typeface="Calibri"/>
                <a:cs typeface="+mn-cs"/>
              </a:rPr>
              <a:t>Part-time contracts</a:t>
            </a:r>
          </a:p>
          <a:p>
            <a:pPr algn="ctr" fontAlgn="auto">
              <a:spcBef>
                <a:spcPts val="0"/>
              </a:spcBef>
              <a:spcAft>
                <a:spcPts val="600"/>
              </a:spcAft>
              <a:tabLst>
                <a:tab pos="0" algn="l"/>
              </a:tabLst>
              <a:defRPr/>
            </a:pPr>
            <a:r>
              <a:rPr lang="en-US" sz="1100" b="1" kern="0" dirty="0">
                <a:solidFill>
                  <a:srgbClr val="17375E"/>
                </a:solidFill>
                <a:latin typeface="Calibri"/>
                <a:cs typeface="+mn-cs"/>
              </a:rPr>
              <a:t>Hide a higher activity</a:t>
            </a:r>
          </a:p>
        </p:txBody>
      </p:sp>
      <p:sp>
        <p:nvSpPr>
          <p:cNvPr id="42" name="Rectangle 33"/>
          <p:cNvSpPr/>
          <p:nvPr/>
        </p:nvSpPr>
        <p:spPr>
          <a:xfrm>
            <a:off x="6123142" y="4233521"/>
            <a:ext cx="2341032" cy="1512168"/>
          </a:xfrm>
          <a:prstGeom prst="rect">
            <a:avLst/>
          </a:prstGeom>
          <a:solidFill>
            <a:srgbClr val="C0504D">
              <a:lumMod val="20000"/>
              <a:lumOff val="80000"/>
            </a:srgbClr>
          </a:solidFill>
          <a:ln w="25400" cap="flat" cmpd="sng" algn="ctr">
            <a:solidFill>
              <a:srgbClr val="C0504D"/>
            </a:solidFill>
            <a:prstDash val="solid"/>
          </a:ln>
          <a:effectLst/>
          <a:scene3d>
            <a:camera prst="orthographicFront"/>
            <a:lightRig rig="threePt" dir="t"/>
          </a:scene3d>
          <a:sp3d>
            <a:bevelT/>
          </a:sp3d>
        </p:spPr>
        <p:txBody>
          <a:bodyPr anchor="ctr"/>
          <a:lstStyle/>
          <a:p>
            <a:pPr marL="285750" indent="-285750" algn="ctr" fontAlgn="auto">
              <a:spcBef>
                <a:spcPts val="0"/>
              </a:spcBef>
              <a:spcAft>
                <a:spcPts val="600"/>
              </a:spcAft>
              <a:defRPr/>
            </a:pPr>
            <a:r>
              <a:rPr lang="es-ES" sz="1400" b="1" kern="0" dirty="0">
                <a:solidFill>
                  <a:srgbClr val="17375E"/>
                </a:solidFill>
                <a:latin typeface="Calibri"/>
                <a:cs typeface="+mn-cs"/>
              </a:rPr>
              <a:t>Fraud Networks</a:t>
            </a:r>
          </a:p>
          <a:p>
            <a:pPr algn="ctr" fontAlgn="auto">
              <a:spcBef>
                <a:spcPts val="0"/>
              </a:spcBef>
              <a:spcAft>
                <a:spcPts val="0"/>
              </a:spcAft>
              <a:defRPr/>
            </a:pPr>
            <a:r>
              <a:rPr lang="en-US" sz="1100" b="1" kern="0" dirty="0">
                <a:solidFill>
                  <a:srgbClr val="17375E"/>
                </a:solidFill>
                <a:latin typeface="Calibri"/>
                <a:cs typeface="+mn-cs"/>
              </a:rPr>
              <a:t>Network Analysis</a:t>
            </a:r>
          </a:p>
          <a:p>
            <a:pPr algn="ctr" fontAlgn="auto">
              <a:spcBef>
                <a:spcPts val="0"/>
              </a:spcBef>
              <a:spcAft>
                <a:spcPts val="0"/>
              </a:spcAft>
              <a:defRPr/>
            </a:pPr>
            <a:r>
              <a:rPr lang="en-US" sz="1100" b="1" kern="0" dirty="0">
                <a:solidFill>
                  <a:srgbClr val="17375E"/>
                </a:solidFill>
                <a:latin typeface="Calibri"/>
                <a:cs typeface="+mn-cs"/>
              </a:rPr>
              <a:t>Insolvent companies</a:t>
            </a:r>
          </a:p>
          <a:p>
            <a:pPr algn="ctr" fontAlgn="auto">
              <a:spcBef>
                <a:spcPts val="0"/>
              </a:spcBef>
              <a:spcAft>
                <a:spcPts val="0"/>
              </a:spcAft>
              <a:defRPr/>
            </a:pPr>
            <a:r>
              <a:rPr lang="en-US" sz="1100" b="1" kern="0" dirty="0">
                <a:solidFill>
                  <a:srgbClr val="17375E"/>
                </a:solidFill>
                <a:latin typeface="Calibri"/>
                <a:cs typeface="+mn-cs"/>
              </a:rPr>
              <a:t>Fictitious companies</a:t>
            </a:r>
          </a:p>
          <a:p>
            <a:pPr algn="ctr" fontAlgn="auto">
              <a:spcBef>
                <a:spcPts val="0"/>
              </a:spcBef>
              <a:spcAft>
                <a:spcPts val="0"/>
              </a:spcAft>
              <a:defRPr/>
            </a:pPr>
            <a:r>
              <a:rPr lang="en-US" sz="1100" b="1" kern="0" dirty="0">
                <a:solidFill>
                  <a:srgbClr val="17375E"/>
                </a:solidFill>
                <a:latin typeface="Calibri"/>
                <a:cs typeface="+mn-cs"/>
              </a:rPr>
              <a:t>Delay in payment</a:t>
            </a:r>
          </a:p>
        </p:txBody>
      </p:sp>
      <p:cxnSp>
        <p:nvCxnSpPr>
          <p:cNvPr id="43" name="42 Forma"/>
          <p:cNvCxnSpPr>
            <a:stCxn id="0" idx="2"/>
            <a:endCxn id="0" idx="1"/>
          </p:cNvCxnSpPr>
          <p:nvPr/>
        </p:nvCxnSpPr>
        <p:spPr>
          <a:xfrm rot="16200000" flipH="1">
            <a:off x="3480594" y="2226469"/>
            <a:ext cx="238125" cy="1944687"/>
          </a:xfrm>
          <a:prstGeom prst="bentConnector2">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cxnSp>
        <p:nvCxnSpPr>
          <p:cNvPr id="48" name="47 Conector angular"/>
          <p:cNvCxnSpPr>
            <a:stCxn id="0" idx="2"/>
            <a:endCxn id="0" idx="0"/>
          </p:cNvCxnSpPr>
          <p:nvPr/>
        </p:nvCxnSpPr>
        <p:spPr>
          <a:xfrm rot="16200000" flipH="1">
            <a:off x="5746750" y="3248025"/>
            <a:ext cx="674688" cy="1296988"/>
          </a:xfrm>
          <a:prstGeom prst="bentConnector3">
            <a:avLst>
              <a:gd name="adj1" fmla="val 50000"/>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cxnSp>
        <p:nvCxnSpPr>
          <p:cNvPr id="49" name="48 Conector angular"/>
          <p:cNvCxnSpPr>
            <a:stCxn id="0" idx="3"/>
            <a:endCxn id="0" idx="1"/>
          </p:cNvCxnSpPr>
          <p:nvPr/>
        </p:nvCxnSpPr>
        <p:spPr>
          <a:xfrm>
            <a:off x="4211638" y="4008438"/>
            <a:ext cx="1439862" cy="981075"/>
          </a:xfrm>
          <a:prstGeom prst="bentConnector3">
            <a:avLst>
              <a:gd name="adj1" fmla="val 50000"/>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cxnSp>
        <p:nvCxnSpPr>
          <p:cNvPr id="50" name="49 Conector angular"/>
          <p:cNvCxnSpPr>
            <a:stCxn id="0" idx="3"/>
            <a:endCxn id="0" idx="1"/>
          </p:cNvCxnSpPr>
          <p:nvPr/>
        </p:nvCxnSpPr>
        <p:spPr>
          <a:xfrm flipV="1">
            <a:off x="4211638" y="4989513"/>
            <a:ext cx="1439862" cy="1116012"/>
          </a:xfrm>
          <a:prstGeom prst="bentConnector3">
            <a:avLst>
              <a:gd name="adj1" fmla="val 50000"/>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sp>
        <p:nvSpPr>
          <p:cNvPr id="52" name="1177605 Rectángulo"/>
          <p:cNvSpPr>
            <a:spLocks noChangeArrowheads="1"/>
          </p:cNvSpPr>
          <p:nvPr/>
        </p:nvSpPr>
        <p:spPr bwMode="auto">
          <a:xfrm>
            <a:off x="428625" y="1268413"/>
            <a:ext cx="8424863" cy="3251200"/>
          </a:xfrm>
          <a:prstGeom prst="rect">
            <a:avLst/>
          </a:prstGeom>
          <a:noFill/>
          <a:ln w="9525" algn="ctr">
            <a:noFill/>
            <a:miter lim="800000"/>
            <a:headEnd/>
            <a:tailEnd/>
          </a:ln>
          <a:effectLst/>
        </p:spPr>
        <p:txBody>
          <a:bodyPr/>
          <a:lstStyle/>
          <a:p>
            <a:pPr marL="342900" algn="just" defTabSz="-13873163" eaLnBrk="0" fontAlgn="auto" hangingPunct="0">
              <a:lnSpc>
                <a:spcPct val="130000"/>
              </a:lnSpc>
              <a:spcBef>
                <a:spcPts val="0"/>
              </a:spcBef>
              <a:spcAft>
                <a:spcPts val="0"/>
              </a:spcAft>
              <a:buClr>
                <a:srgbClr val="57BFE4"/>
              </a:buClr>
              <a:defRPr/>
            </a:pPr>
            <a:endParaRPr lang="es-ES" altLang="es-ES" sz="1600" i="1" kern="0" dirty="0">
              <a:solidFill>
                <a:srgbClr val="002060"/>
              </a:solidFill>
              <a:latin typeface="+mn-lt"/>
              <a:cs typeface="+mn-cs"/>
            </a:endParaRPr>
          </a:p>
        </p:txBody>
      </p:sp>
      <p:sp>
        <p:nvSpPr>
          <p:cNvPr id="53" name="Oval 31"/>
          <p:cNvSpPr/>
          <p:nvPr/>
        </p:nvSpPr>
        <p:spPr bwMode="gray">
          <a:xfrm>
            <a:off x="1130300" y="1927225"/>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Bef>
                <a:spcPts val="0"/>
              </a:spcBef>
              <a:spcAft>
                <a:spcPts val="300"/>
              </a:spcAft>
              <a:defRPr/>
            </a:pPr>
            <a:r>
              <a:rPr lang="es-ES" sz="1600" b="1" kern="0" dirty="0">
                <a:solidFill>
                  <a:sysClr val="windowText" lastClr="000000"/>
                </a:solidFill>
                <a:latin typeface="Arial" pitchFamily="34" charset="0"/>
                <a:cs typeface="Arial" pitchFamily="34" charset="0"/>
              </a:rPr>
              <a:t>1</a:t>
            </a:r>
          </a:p>
        </p:txBody>
      </p:sp>
      <p:sp>
        <p:nvSpPr>
          <p:cNvPr id="54" name="Oval 31"/>
          <p:cNvSpPr/>
          <p:nvPr/>
        </p:nvSpPr>
        <p:spPr bwMode="gray">
          <a:xfrm>
            <a:off x="1130300" y="3582988"/>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Bef>
                <a:spcPts val="0"/>
              </a:spcBef>
              <a:spcAft>
                <a:spcPts val="300"/>
              </a:spcAft>
              <a:defRPr/>
            </a:pPr>
            <a:r>
              <a:rPr lang="es-ES" sz="1600" b="1" kern="0" dirty="0">
                <a:solidFill>
                  <a:sysClr val="windowText" lastClr="000000"/>
                </a:solidFill>
                <a:latin typeface="Arial" pitchFamily="34" charset="0"/>
                <a:cs typeface="Arial" pitchFamily="34" charset="0"/>
              </a:rPr>
              <a:t>2</a:t>
            </a:r>
          </a:p>
        </p:txBody>
      </p:sp>
      <p:sp>
        <p:nvSpPr>
          <p:cNvPr id="55" name="Oval 31"/>
          <p:cNvSpPr/>
          <p:nvPr/>
        </p:nvSpPr>
        <p:spPr bwMode="gray">
          <a:xfrm>
            <a:off x="1130300" y="4633913"/>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Bef>
                <a:spcPts val="0"/>
              </a:spcBef>
              <a:spcAft>
                <a:spcPts val="300"/>
              </a:spcAft>
              <a:defRPr/>
            </a:pPr>
            <a:r>
              <a:rPr lang="es-ES" sz="1600" b="1" kern="0" dirty="0">
                <a:solidFill>
                  <a:sysClr val="windowText" lastClr="000000"/>
                </a:solidFill>
                <a:latin typeface="Arial" pitchFamily="34" charset="0"/>
                <a:cs typeface="Arial" pitchFamily="34" charset="0"/>
              </a:rPr>
              <a:t>3</a:t>
            </a:r>
          </a:p>
        </p:txBody>
      </p:sp>
      <p:sp>
        <p:nvSpPr>
          <p:cNvPr id="56" name="Oval 31"/>
          <p:cNvSpPr/>
          <p:nvPr/>
        </p:nvSpPr>
        <p:spPr bwMode="gray">
          <a:xfrm>
            <a:off x="1130300" y="5602288"/>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Bef>
                <a:spcPts val="0"/>
              </a:spcBef>
              <a:spcAft>
                <a:spcPts val="300"/>
              </a:spcAft>
              <a:defRPr/>
            </a:pPr>
            <a:r>
              <a:rPr lang="es-ES" sz="1600" b="1" kern="0" dirty="0">
                <a:solidFill>
                  <a:sysClr val="windowText" lastClr="000000"/>
                </a:solidFill>
                <a:latin typeface="Arial" pitchFamily="34" charset="0"/>
                <a:cs typeface="Arial" pitchFamily="34" charset="0"/>
              </a:rPr>
              <a:t>4</a:t>
            </a:r>
          </a:p>
        </p:txBody>
      </p:sp>
      <p:sp>
        <p:nvSpPr>
          <p:cNvPr id="57" name="Oval 31"/>
          <p:cNvSpPr/>
          <p:nvPr/>
        </p:nvSpPr>
        <p:spPr bwMode="gray">
          <a:xfrm>
            <a:off x="6122988" y="4251325"/>
            <a:ext cx="293687"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Bef>
                <a:spcPts val="0"/>
              </a:spcBef>
              <a:spcAft>
                <a:spcPts val="300"/>
              </a:spcAft>
              <a:defRPr/>
            </a:pPr>
            <a:r>
              <a:rPr lang="es-ES" sz="1600" b="1" kern="0" dirty="0">
                <a:solidFill>
                  <a:sysClr val="windowText" lastClr="000000"/>
                </a:solidFill>
                <a:latin typeface="Arial" pitchFamily="34" charset="0"/>
                <a:cs typeface="Arial" pitchFamily="34" charset="0"/>
              </a:rPr>
              <a:t>5</a:t>
            </a:r>
          </a:p>
        </p:txBody>
      </p:sp>
      <p:sp>
        <p:nvSpPr>
          <p:cNvPr id="1794082" name="37 Rectángulo redondeado"/>
          <p:cNvSpPr>
            <a:spLocks noChangeArrowheads="1"/>
          </p:cNvSpPr>
          <p:nvPr/>
        </p:nvSpPr>
        <p:spPr bwMode="auto">
          <a:xfrm>
            <a:off x="560388" y="1196975"/>
            <a:ext cx="8813800" cy="395288"/>
          </a:xfrm>
          <a:prstGeom prst="roundRect">
            <a:avLst>
              <a:gd name="adj" fmla="val 8435"/>
            </a:avLst>
          </a:prstGeom>
          <a:noFill/>
          <a:ln w="9525">
            <a:noFill/>
            <a:round/>
            <a:headEnd/>
            <a:tailEnd/>
          </a:ln>
        </p:spPr>
        <p:txBody>
          <a:bodyPr/>
          <a:lstStyle/>
          <a:p>
            <a:pPr eaLnBrk="0" hangingPunct="0">
              <a:spcBef>
                <a:spcPts val="300"/>
              </a:spcBef>
              <a:spcAft>
                <a:spcPts val="300"/>
              </a:spcAft>
              <a:buSzPct val="98000"/>
            </a:pPr>
            <a:r>
              <a:rPr lang="en-US" sz="2800" b="1" i="1">
                <a:solidFill>
                  <a:schemeClr val="tx2"/>
                </a:solidFill>
              </a:rPr>
              <a:t>Priorities lines of attack for TGSS against fraud</a:t>
            </a:r>
          </a:p>
        </p:txBody>
      </p:sp>
      <p:cxnSp>
        <p:nvCxnSpPr>
          <p:cNvPr id="47" name="46 Forma"/>
          <p:cNvCxnSpPr/>
          <p:nvPr/>
        </p:nvCxnSpPr>
        <p:spPr>
          <a:xfrm rot="5400000">
            <a:off x="6792913" y="3457575"/>
            <a:ext cx="2559050" cy="504825"/>
          </a:xfrm>
          <a:prstGeom prst="bentConnector2">
            <a:avLst/>
          </a:prstGeom>
          <a:noFill/>
          <a:ln w="25400" cap="flat" cmpd="sng" algn="ctr">
            <a:solidFill>
              <a:srgbClr val="4F81BD"/>
            </a:solidFill>
            <a:prstDash val="solid"/>
            <a:tailEnd type="arrow"/>
          </a:ln>
          <a:effectLst>
            <a:outerShdw blurRad="40000" dist="23000" dir="5400000" rotWithShape="0">
              <a:srgbClr val="000000">
                <a:alpha val="35000"/>
              </a:srgbClr>
            </a:outerShdw>
          </a:effectLst>
        </p:spPr>
      </p:cxnSp>
      <p:cxnSp>
        <p:nvCxnSpPr>
          <p:cNvPr id="64" name="63 Conector recto"/>
          <p:cNvCxnSpPr/>
          <p:nvPr/>
        </p:nvCxnSpPr>
        <p:spPr>
          <a:xfrm>
            <a:off x="6300788" y="2430463"/>
            <a:ext cx="2016125" cy="0"/>
          </a:xfrm>
          <a:prstGeom prst="line">
            <a:avLst/>
          </a:prstGeom>
          <a:noFill/>
          <a:ln w="25400" cap="flat" cmpd="sng" algn="ctr">
            <a:solidFill>
              <a:srgbClr val="4F81BD"/>
            </a:solidFill>
            <a:prstDash val="solid"/>
            <a:tailEnd type="none"/>
          </a:ln>
          <a:effectLst>
            <a:outerShdw blurRad="40000" dist="23000" dir="5400000" rotWithShape="0">
              <a:srgbClr val="000000">
                <a:alpha val="35000"/>
              </a:srgbClr>
            </a:outerShdw>
          </a:effectLst>
        </p:spPr>
      </p:cxnSp>
      <p:sp>
        <p:nvSpPr>
          <p:cNvPr id="79" name="Title 1"/>
          <p:cNvSpPr txBox="1">
            <a:spLocks/>
          </p:cNvSpPr>
          <p:nvPr/>
        </p:nvSpPr>
        <p:spPr bwMode="auto">
          <a:xfrm>
            <a:off x="495300" y="82550"/>
            <a:ext cx="8915400" cy="561975"/>
          </a:xfrm>
          <a:prstGeom prst="rect">
            <a:avLst/>
          </a:prstGeom>
          <a:noFill/>
          <a:ln w="12700">
            <a:noFill/>
            <a:miter lim="800000"/>
            <a:headEnd/>
            <a:tailEnd/>
          </a:ln>
        </p:spPr>
        <p:txBody>
          <a:bodyPr lIns="0" tIns="0" rIns="0" bIns="72000" anchor="b"/>
          <a:lstStyle/>
          <a:p>
            <a:r>
              <a:rPr lang="en-US" sz="2400">
                <a:solidFill>
                  <a:srgbClr val="808080"/>
                </a:solidFill>
              </a:rPr>
              <a:t>The</a:t>
            </a:r>
            <a:r>
              <a:rPr lang="en-US" sz="2400">
                <a:solidFill>
                  <a:schemeClr val="bg2"/>
                </a:solidFill>
              </a:rPr>
              <a:t> </a:t>
            </a:r>
            <a:r>
              <a:rPr lang="en-US" sz="2400">
                <a:solidFill>
                  <a:srgbClr val="808080"/>
                </a:solidFill>
              </a:rPr>
              <a:t>challenge</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5074" name="Title 1"/>
          <p:cNvSpPr>
            <a:spLocks noGrp="1"/>
          </p:cNvSpPr>
          <p:nvPr>
            <p:ph type="title" idx="4294967295"/>
          </p:nvPr>
        </p:nvSpPr>
        <p:spPr>
          <a:xfrm>
            <a:off x="495300" y="82550"/>
            <a:ext cx="8915400" cy="561975"/>
          </a:xfrm>
        </p:spPr>
        <p:txBody>
          <a:bodyPr lIns="0" tIns="0" rIns="0" bIns="72000" anchor="b"/>
          <a:lstStyle/>
          <a:p>
            <a:r>
              <a:rPr lang="en-US" smtClean="0">
                <a:solidFill>
                  <a:srgbClr val="777777"/>
                </a:solidFill>
              </a:rPr>
              <a:t>How Analytics Helped</a:t>
            </a:r>
          </a:p>
        </p:txBody>
      </p:sp>
      <p:sp>
        <p:nvSpPr>
          <p:cNvPr id="1795075" name="Text Placeholder 5"/>
          <p:cNvSpPr>
            <a:spLocks noGrp="1"/>
          </p:cNvSpPr>
          <p:nvPr>
            <p:ph type="body" sz="quarter" idx="4294967295"/>
          </p:nvPr>
        </p:nvSpPr>
        <p:spPr>
          <a:xfrm>
            <a:off x="508000" y="1147763"/>
            <a:ext cx="8890000" cy="574675"/>
          </a:xfrm>
          <a:ln/>
        </p:spPr>
        <p:txBody>
          <a:bodyPr/>
          <a:lstStyle/>
          <a:p>
            <a:pPr marL="0" indent="0">
              <a:buFont typeface="Arial" charset="0"/>
              <a:buNone/>
            </a:pPr>
            <a:r>
              <a:rPr lang="en-US" sz="4000" b="1" i="1" smtClean="0">
                <a:solidFill>
                  <a:schemeClr val="tx2"/>
                </a:solidFill>
              </a:rPr>
              <a:t>Supported by powerful IT infrastructure</a:t>
            </a:r>
          </a:p>
        </p:txBody>
      </p:sp>
      <p:pic>
        <p:nvPicPr>
          <p:cNvPr id="1795076" name="Picture 3"/>
          <p:cNvPicPr>
            <a:picLocks noChangeAspect="1" noChangeArrowheads="1"/>
          </p:cNvPicPr>
          <p:nvPr/>
        </p:nvPicPr>
        <p:blipFill>
          <a:blip r:embed="rId2"/>
          <a:srcRect/>
          <a:stretch>
            <a:fillRect/>
          </a:stretch>
        </p:blipFill>
        <p:spPr bwMode="auto">
          <a:xfrm>
            <a:off x="584200" y="2544763"/>
            <a:ext cx="8383588" cy="38369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18 Rectángulo"/>
          <p:cNvSpPr/>
          <p:nvPr/>
        </p:nvSpPr>
        <p:spPr>
          <a:xfrm>
            <a:off x="2457450" y="3213100"/>
            <a:ext cx="4289425" cy="3336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a:p>
        </p:txBody>
      </p:sp>
      <p:sp>
        <p:nvSpPr>
          <p:cNvPr id="18" name="Rectangle 17"/>
          <p:cNvSpPr/>
          <p:nvPr/>
        </p:nvSpPr>
        <p:spPr>
          <a:xfrm>
            <a:off x="5202238" y="1997075"/>
            <a:ext cx="2730500" cy="1047750"/>
          </a:xfrm>
          <a:prstGeom prst="rect">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96100" name="Title 1"/>
          <p:cNvSpPr>
            <a:spLocks noGrp="1"/>
          </p:cNvSpPr>
          <p:nvPr>
            <p:ph type="title" idx="4294967295"/>
          </p:nvPr>
        </p:nvSpPr>
        <p:spPr>
          <a:xfrm>
            <a:off x="488950" y="0"/>
            <a:ext cx="8915400" cy="561975"/>
          </a:xfrm>
        </p:spPr>
        <p:txBody>
          <a:bodyPr lIns="0" tIns="0" rIns="0" bIns="72000" anchor="b"/>
          <a:lstStyle/>
          <a:p>
            <a:r>
              <a:rPr lang="en-US" smtClean="0">
                <a:solidFill>
                  <a:srgbClr val="808080"/>
                </a:solidFill>
              </a:rPr>
              <a:t>How Analytics</a:t>
            </a:r>
            <a:r>
              <a:rPr lang="en-US" smtClean="0">
                <a:solidFill>
                  <a:schemeClr val="bg2"/>
                </a:solidFill>
              </a:rPr>
              <a:t> </a:t>
            </a:r>
            <a:r>
              <a:rPr lang="en-US" smtClean="0">
                <a:solidFill>
                  <a:srgbClr val="777777"/>
                </a:solidFill>
              </a:rPr>
              <a:t>Helped</a:t>
            </a:r>
          </a:p>
        </p:txBody>
      </p:sp>
      <p:sp>
        <p:nvSpPr>
          <p:cNvPr id="1796101" name="Text Placeholder 5"/>
          <p:cNvSpPr>
            <a:spLocks noGrp="1"/>
          </p:cNvSpPr>
          <p:nvPr>
            <p:ph type="body" sz="quarter" idx="4294967295"/>
          </p:nvPr>
        </p:nvSpPr>
        <p:spPr>
          <a:xfrm>
            <a:off x="488950" y="1125538"/>
            <a:ext cx="8890000" cy="576262"/>
          </a:xfrm>
          <a:ln/>
        </p:spPr>
        <p:txBody>
          <a:bodyPr/>
          <a:lstStyle/>
          <a:p>
            <a:pPr marL="0" indent="0">
              <a:buFont typeface="Arial" charset="0"/>
              <a:buNone/>
            </a:pPr>
            <a:r>
              <a:rPr lang="en-US" sz="3600" b="1" i="1" smtClean="0">
                <a:solidFill>
                  <a:schemeClr val="tx2"/>
                </a:solidFill>
              </a:rPr>
              <a:t>Supported by powerful analytical tools</a:t>
            </a:r>
          </a:p>
        </p:txBody>
      </p:sp>
      <p:sp>
        <p:nvSpPr>
          <p:cNvPr id="12" name="TextBox 6"/>
          <p:cNvSpPr txBox="1">
            <a:spLocks noChangeArrowheads="1"/>
          </p:cNvSpPr>
          <p:nvPr/>
        </p:nvSpPr>
        <p:spPr bwMode="auto">
          <a:xfrm>
            <a:off x="271463" y="1989138"/>
            <a:ext cx="3760787" cy="1016000"/>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spcBef>
                <a:spcPts val="0"/>
              </a:spcBef>
              <a:spcAft>
                <a:spcPts val="0"/>
              </a:spcAft>
              <a:defRPr/>
            </a:pPr>
            <a:r>
              <a:rPr lang="en-US" altLang="es-ES_tradnl" sz="2000" kern="0" dirty="0" smtClean="0">
                <a:solidFill>
                  <a:srgbClr val="17375E"/>
                </a:solidFill>
                <a:latin typeface="+mn-lt"/>
                <a:cs typeface="+mn-cs"/>
              </a:rPr>
              <a:t>Analytical techniques</a:t>
            </a:r>
          </a:p>
          <a:p>
            <a:pPr algn="ctr" eaLnBrk="1" fontAlgn="auto" hangingPunct="1">
              <a:spcBef>
                <a:spcPts val="0"/>
              </a:spcBef>
              <a:spcAft>
                <a:spcPts val="0"/>
              </a:spcAft>
              <a:defRPr/>
            </a:pPr>
            <a:r>
              <a:rPr lang="en-US" altLang="es-ES_tradnl" sz="2000" kern="0" dirty="0" smtClean="0">
                <a:solidFill>
                  <a:srgbClr val="17375E"/>
                </a:solidFill>
                <a:latin typeface="+mn-lt"/>
                <a:cs typeface="+mn-cs"/>
              </a:rPr>
              <a:t>Known fraud / Unknown fraud</a:t>
            </a:r>
          </a:p>
        </p:txBody>
      </p:sp>
      <p:pic>
        <p:nvPicPr>
          <p:cNvPr id="1796103" name="Picture 5"/>
          <p:cNvPicPr>
            <a:picLocks noChangeAspect="1" noChangeArrowheads="1"/>
          </p:cNvPicPr>
          <p:nvPr/>
        </p:nvPicPr>
        <p:blipFill>
          <a:blip r:embed="rId2"/>
          <a:srcRect l="6500" t="25314" r="4375" b="20444"/>
          <a:stretch>
            <a:fillRect/>
          </a:stretch>
        </p:blipFill>
        <p:spPr bwMode="auto">
          <a:xfrm>
            <a:off x="5359400" y="2136775"/>
            <a:ext cx="2395538" cy="765175"/>
          </a:xfrm>
          <a:prstGeom prst="rect">
            <a:avLst/>
          </a:prstGeom>
          <a:noFill/>
          <a:ln w="9525">
            <a:noFill/>
            <a:miter lim="800000"/>
            <a:headEnd/>
            <a:tailEnd/>
          </a:ln>
        </p:spPr>
      </p:pic>
      <p:cxnSp>
        <p:nvCxnSpPr>
          <p:cNvPr id="17" name="Straight Arrow Connector 16"/>
          <p:cNvCxnSpPr/>
          <p:nvPr/>
        </p:nvCxnSpPr>
        <p:spPr>
          <a:xfrm>
            <a:off x="3651250" y="2468563"/>
            <a:ext cx="1079500"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796105" name="Picture 12"/>
          <p:cNvPicPr>
            <a:picLocks noChangeAspect="1" noChangeArrowheads="1"/>
          </p:cNvPicPr>
          <p:nvPr/>
        </p:nvPicPr>
        <p:blipFill>
          <a:blip r:embed="rId3"/>
          <a:srcRect l="43047" t="38278" r="36481" b="54362"/>
          <a:stretch>
            <a:fillRect/>
          </a:stretch>
        </p:blipFill>
        <p:spPr bwMode="auto">
          <a:xfrm>
            <a:off x="8010525" y="2660650"/>
            <a:ext cx="1260475" cy="215900"/>
          </a:xfrm>
          <a:prstGeom prst="rect">
            <a:avLst/>
          </a:prstGeom>
          <a:noFill/>
          <a:ln w="9525">
            <a:noFill/>
            <a:miter lim="800000"/>
            <a:headEnd/>
            <a:tailEnd/>
          </a:ln>
        </p:spPr>
      </p:pic>
      <p:pic>
        <p:nvPicPr>
          <p:cNvPr id="1796106" name="Picture 21"/>
          <p:cNvPicPr>
            <a:picLocks noChangeAspect="1"/>
          </p:cNvPicPr>
          <p:nvPr/>
        </p:nvPicPr>
        <p:blipFill>
          <a:blip r:embed="rId4"/>
          <a:srcRect/>
          <a:stretch>
            <a:fillRect/>
          </a:stretch>
        </p:blipFill>
        <p:spPr bwMode="auto">
          <a:xfrm>
            <a:off x="7977188" y="2205038"/>
            <a:ext cx="881062" cy="360362"/>
          </a:xfrm>
          <a:prstGeom prst="rect">
            <a:avLst/>
          </a:prstGeom>
          <a:noFill/>
          <a:ln w="9525">
            <a:noFill/>
            <a:miter lim="800000"/>
            <a:headEnd/>
            <a:tailEnd/>
          </a:ln>
        </p:spPr>
      </p:pic>
      <p:sp>
        <p:nvSpPr>
          <p:cNvPr id="1796107" name="Text Placeholder 5"/>
          <p:cNvSpPr txBox="1">
            <a:spLocks/>
          </p:cNvSpPr>
          <p:nvPr/>
        </p:nvSpPr>
        <p:spPr bwMode="auto">
          <a:xfrm>
            <a:off x="2378075" y="3721100"/>
            <a:ext cx="1404938" cy="500063"/>
          </a:xfrm>
          <a:prstGeom prst="rect">
            <a:avLst/>
          </a:prstGeom>
          <a:noFill/>
          <a:ln w="9525">
            <a:noFill/>
            <a:miter lim="800000"/>
            <a:headEnd/>
            <a:tailEnd/>
          </a:ln>
        </p:spPr>
        <p:txBody>
          <a:bodyPr/>
          <a:lstStyle/>
          <a:p>
            <a:pPr algn="ctr">
              <a:spcBef>
                <a:spcPct val="20000"/>
              </a:spcBef>
              <a:buFont typeface="Arial" charset="0"/>
              <a:buNone/>
            </a:pPr>
            <a:r>
              <a:rPr lang="en-US" sz="1600" i="1">
                <a:solidFill>
                  <a:srgbClr val="FF0000"/>
                </a:solidFill>
              </a:rPr>
              <a:t>SAS Fraud Framework</a:t>
            </a:r>
          </a:p>
        </p:txBody>
      </p:sp>
      <p:pic>
        <p:nvPicPr>
          <p:cNvPr id="1796108" name="Picture 3"/>
          <p:cNvPicPr>
            <a:picLocks noChangeAspect="1" noChangeArrowheads="1"/>
          </p:cNvPicPr>
          <p:nvPr/>
        </p:nvPicPr>
        <p:blipFill>
          <a:blip r:embed="rId5"/>
          <a:srcRect/>
          <a:stretch>
            <a:fillRect/>
          </a:stretch>
        </p:blipFill>
        <p:spPr bwMode="auto">
          <a:xfrm>
            <a:off x="2613025" y="3321050"/>
            <a:ext cx="3997325" cy="31146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7122" name="Title 1"/>
          <p:cNvSpPr>
            <a:spLocks noGrp="1"/>
          </p:cNvSpPr>
          <p:nvPr>
            <p:ph type="title" idx="4294967295"/>
          </p:nvPr>
        </p:nvSpPr>
        <p:spPr>
          <a:xfrm>
            <a:off x="415925" y="0"/>
            <a:ext cx="8915400" cy="561975"/>
          </a:xfrm>
        </p:spPr>
        <p:txBody>
          <a:bodyPr lIns="0" tIns="0" rIns="0" bIns="72000" anchor="b"/>
          <a:lstStyle/>
          <a:p>
            <a:r>
              <a:rPr lang="en-US" smtClean="0">
                <a:solidFill>
                  <a:srgbClr val="777777"/>
                </a:solidFill>
              </a:rPr>
              <a:t>How Analytics</a:t>
            </a:r>
            <a:r>
              <a:rPr lang="en-US" smtClean="0">
                <a:solidFill>
                  <a:schemeClr val="bg2"/>
                </a:solidFill>
              </a:rPr>
              <a:t> </a:t>
            </a:r>
            <a:r>
              <a:rPr lang="en-US" smtClean="0">
                <a:solidFill>
                  <a:srgbClr val="777777"/>
                </a:solidFill>
              </a:rPr>
              <a:t>Helped</a:t>
            </a:r>
          </a:p>
        </p:txBody>
      </p:sp>
      <p:sp>
        <p:nvSpPr>
          <p:cNvPr id="1797123" name="Text Placeholder 5"/>
          <p:cNvSpPr>
            <a:spLocks noGrp="1"/>
          </p:cNvSpPr>
          <p:nvPr>
            <p:ph type="body" sz="quarter" idx="4294967295"/>
          </p:nvPr>
        </p:nvSpPr>
        <p:spPr>
          <a:xfrm>
            <a:off x="488950" y="1125538"/>
            <a:ext cx="8890000" cy="576262"/>
          </a:xfrm>
          <a:ln/>
        </p:spPr>
        <p:txBody>
          <a:bodyPr/>
          <a:lstStyle/>
          <a:p>
            <a:pPr marL="0" indent="0">
              <a:buFont typeface="Arial" charset="0"/>
              <a:buNone/>
            </a:pPr>
            <a:r>
              <a:rPr lang="en-US" b="1" i="1" smtClean="0">
                <a:solidFill>
                  <a:schemeClr val="tx2"/>
                </a:solidFill>
              </a:rPr>
              <a:t>Supported by powerful analytical tools (cont.)</a:t>
            </a:r>
          </a:p>
        </p:txBody>
      </p:sp>
      <p:sp>
        <p:nvSpPr>
          <p:cNvPr id="20" name="Rectangle 7"/>
          <p:cNvSpPr/>
          <p:nvPr/>
        </p:nvSpPr>
        <p:spPr>
          <a:xfrm>
            <a:off x="2613025" y="1992313"/>
            <a:ext cx="6784975" cy="922337"/>
          </a:xfrm>
          <a:prstGeom prst="rect">
            <a:avLst/>
          </a:prstGeom>
        </p:spPr>
        <p:txBody>
          <a:bodyPr>
            <a:spAutoFit/>
          </a:bodyPr>
          <a:lstStyle/>
          <a:p>
            <a:pPr algn="just" fontAlgn="auto">
              <a:spcBef>
                <a:spcPts val="0"/>
              </a:spcBef>
              <a:spcAft>
                <a:spcPts val="0"/>
              </a:spcAft>
              <a:defRPr/>
            </a:pPr>
            <a:r>
              <a:rPr lang="en-US" altLang="es-ES" i="1" kern="0" dirty="0">
                <a:solidFill>
                  <a:srgbClr val="002060"/>
                </a:solidFill>
                <a:latin typeface="+mn-lt"/>
                <a:cs typeface="+mn-cs"/>
              </a:rPr>
              <a:t>The case manager (Social Network analysis) of the </a:t>
            </a:r>
            <a:r>
              <a:rPr lang="en-US" altLang="es-ES" b="1" i="1" kern="0" dirty="0">
                <a:solidFill>
                  <a:srgbClr val="002060"/>
                </a:solidFill>
                <a:latin typeface="+mn-lt"/>
                <a:cs typeface="+mn-cs"/>
              </a:rPr>
              <a:t>SAS Fraud Framework tool </a:t>
            </a:r>
            <a:r>
              <a:rPr lang="en-US" altLang="es-ES" i="1" kern="0" dirty="0">
                <a:solidFill>
                  <a:srgbClr val="002060"/>
                </a:solidFill>
                <a:latin typeface="+mn-lt"/>
                <a:cs typeface="+mn-cs"/>
              </a:rPr>
              <a:t>will, through its web access, meet the needs of performance in terms of information exchange</a:t>
            </a:r>
            <a:endParaRPr lang="en-US" kern="0" dirty="0">
              <a:solidFill>
                <a:sysClr val="windowText" lastClr="000000"/>
              </a:solidFill>
              <a:latin typeface="+mn-lt"/>
              <a:cs typeface="+mn-cs"/>
            </a:endParaRPr>
          </a:p>
        </p:txBody>
      </p:sp>
      <p:pic>
        <p:nvPicPr>
          <p:cNvPr id="1797125" name="Picture 2"/>
          <p:cNvPicPr>
            <a:picLocks noChangeAspect="1" noChangeArrowheads="1"/>
          </p:cNvPicPr>
          <p:nvPr/>
        </p:nvPicPr>
        <p:blipFill>
          <a:blip r:embed="rId2"/>
          <a:srcRect/>
          <a:stretch>
            <a:fillRect/>
          </a:stretch>
        </p:blipFill>
        <p:spPr bwMode="auto">
          <a:xfrm>
            <a:off x="1209675" y="1989138"/>
            <a:ext cx="5688013" cy="44259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8146" name="Title 1"/>
          <p:cNvSpPr>
            <a:spLocks noGrp="1"/>
          </p:cNvSpPr>
          <p:nvPr>
            <p:ph type="title" idx="4294967295"/>
          </p:nvPr>
        </p:nvSpPr>
        <p:spPr>
          <a:xfrm>
            <a:off x="488950" y="0"/>
            <a:ext cx="8915400" cy="561975"/>
          </a:xfrm>
        </p:spPr>
        <p:txBody>
          <a:bodyPr lIns="0" tIns="0" rIns="0" bIns="72000" anchor="b"/>
          <a:lstStyle/>
          <a:p>
            <a:r>
              <a:rPr lang="en-US" smtClean="0">
                <a:solidFill>
                  <a:srgbClr val="777777"/>
                </a:solidFill>
              </a:rPr>
              <a:t>How Analytics Helped</a:t>
            </a:r>
          </a:p>
        </p:txBody>
      </p:sp>
      <p:sp>
        <p:nvSpPr>
          <p:cNvPr id="1798147" name="Text Placeholder 5"/>
          <p:cNvSpPr>
            <a:spLocks noGrp="1"/>
          </p:cNvSpPr>
          <p:nvPr>
            <p:ph type="body" sz="quarter" idx="4294967295"/>
          </p:nvPr>
        </p:nvSpPr>
        <p:spPr>
          <a:xfrm>
            <a:off x="488950" y="1125538"/>
            <a:ext cx="8890000" cy="574675"/>
          </a:xfrm>
          <a:ln/>
        </p:spPr>
        <p:txBody>
          <a:bodyPr/>
          <a:lstStyle/>
          <a:p>
            <a:pPr marL="0" indent="0">
              <a:buFont typeface="Arial" charset="0"/>
              <a:buNone/>
            </a:pPr>
            <a:r>
              <a:rPr lang="en-US" b="1" i="1" smtClean="0">
                <a:solidFill>
                  <a:schemeClr val="tx2"/>
                </a:solidFill>
              </a:rPr>
              <a:t>Supported by powerful analytical techniques</a:t>
            </a:r>
          </a:p>
        </p:txBody>
      </p:sp>
      <p:sp>
        <p:nvSpPr>
          <p:cNvPr id="13" name="TextBox 6"/>
          <p:cNvSpPr txBox="1">
            <a:spLocks noChangeArrowheads="1"/>
          </p:cNvSpPr>
          <p:nvPr/>
        </p:nvSpPr>
        <p:spPr bwMode="auto">
          <a:xfrm>
            <a:off x="271463" y="3962400"/>
            <a:ext cx="2263775" cy="1014413"/>
          </a:xfrm>
          <a:prstGeom prst="rect">
            <a:avLst/>
          </a:prstGeom>
          <a:noFill/>
          <a:ln>
            <a:noFill/>
          </a:ln>
          <a:extLst>
            <a:ext uri="{909E8E84-426E-40DD-AFC4-6F175D3DCCD1}"/>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spcBef>
                <a:spcPts val="0"/>
              </a:spcBef>
              <a:spcAft>
                <a:spcPts val="0"/>
              </a:spcAft>
              <a:defRPr/>
            </a:pPr>
            <a:r>
              <a:rPr lang="en-US" altLang="es-ES_tradnl" sz="2000" kern="0" dirty="0" smtClean="0">
                <a:solidFill>
                  <a:srgbClr val="17375E"/>
                </a:solidFill>
                <a:latin typeface="+mn-lt"/>
                <a:cs typeface="+mn-cs"/>
              </a:rPr>
              <a:t>Methodologies and algorithms</a:t>
            </a:r>
          </a:p>
          <a:p>
            <a:pPr algn="ctr" eaLnBrk="1" fontAlgn="auto" hangingPunct="1">
              <a:spcBef>
                <a:spcPts val="0"/>
              </a:spcBef>
              <a:spcAft>
                <a:spcPts val="0"/>
              </a:spcAft>
              <a:defRPr/>
            </a:pPr>
            <a:endParaRPr lang="en-US" altLang="es-ES_tradnl" sz="2000" kern="0" dirty="0" smtClean="0">
              <a:solidFill>
                <a:srgbClr val="17375E"/>
              </a:solidFill>
              <a:latin typeface="+mn-lt"/>
              <a:cs typeface="+mn-cs"/>
            </a:endParaRPr>
          </a:p>
        </p:txBody>
      </p:sp>
      <p:cxnSp>
        <p:nvCxnSpPr>
          <p:cNvPr id="60" name="Straight Arrow Connector 59"/>
          <p:cNvCxnSpPr/>
          <p:nvPr/>
        </p:nvCxnSpPr>
        <p:spPr>
          <a:xfrm>
            <a:off x="2197100" y="4462463"/>
            <a:ext cx="358775"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798150" name="Picture 2"/>
          <p:cNvPicPr>
            <a:picLocks noChangeAspect="1" noChangeArrowheads="1"/>
          </p:cNvPicPr>
          <p:nvPr/>
        </p:nvPicPr>
        <p:blipFill>
          <a:blip r:embed="rId2"/>
          <a:srcRect/>
          <a:stretch>
            <a:fillRect/>
          </a:stretch>
        </p:blipFill>
        <p:spPr bwMode="auto">
          <a:xfrm>
            <a:off x="2846388" y="3500438"/>
            <a:ext cx="5935662" cy="2951162"/>
          </a:xfrm>
          <a:prstGeom prst="rect">
            <a:avLst/>
          </a:prstGeom>
          <a:noFill/>
          <a:ln w="9525">
            <a:noFill/>
            <a:miter lim="800000"/>
            <a:headEnd/>
            <a:tailEnd/>
          </a:ln>
        </p:spPr>
      </p:pic>
      <p:sp>
        <p:nvSpPr>
          <p:cNvPr id="32" name="Content Placeholder 2"/>
          <p:cNvSpPr>
            <a:spLocks noGrp="1"/>
          </p:cNvSpPr>
          <p:nvPr>
            <p:ph idx="4294967295"/>
          </p:nvPr>
        </p:nvSpPr>
        <p:spPr>
          <a:xfrm>
            <a:off x="661988" y="1781175"/>
            <a:ext cx="8815387" cy="1431925"/>
          </a:xfrm>
        </p:spPr>
        <p:txBody>
          <a:bodyPr>
            <a:spAutoFit/>
          </a:bodyPr>
          <a:lstStyle/>
          <a:p>
            <a:pPr marL="0" indent="0" eaLnBrk="1" hangingPunct="1">
              <a:lnSpc>
                <a:spcPct val="110000"/>
              </a:lnSpc>
              <a:buClr>
                <a:schemeClr val="accent2"/>
              </a:buClr>
              <a:buFont typeface="Arial" charset="0"/>
              <a:buNone/>
            </a:pPr>
            <a:r>
              <a:rPr lang="en-US" altLang="es-ES_tradnl" sz="2000" b="1" smtClean="0">
                <a:solidFill>
                  <a:srgbClr val="17375E"/>
                </a:solidFill>
              </a:rPr>
              <a:t>Integrating Analytics in Social Security General Treasury to identify potentially fraudulent cases and discover new patterns and behaviors, based on the analysis of existing information systems to deliver integrated fraud management, intensifying the process control managemen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501</TotalTime>
  <Words>798</Words>
  <Application>Microsoft Office PowerPoint</Application>
  <PresentationFormat>A4 (210 x 297 mm)</PresentationFormat>
  <Paragraphs>158</Paragraphs>
  <Slides>20</Slides>
  <Notes>1</Notes>
  <HiddenSlides>0</HiddenSlides>
  <MMClips>0</MMClips>
  <ScaleCrop>false</ScaleCrop>
  <HeadingPairs>
    <vt:vector size="10" baseType="variant">
      <vt:variant>
        <vt:lpstr>Fuentes usadas</vt:lpstr>
      </vt:variant>
      <vt:variant>
        <vt:i4>4</vt:i4>
      </vt:variant>
      <vt:variant>
        <vt:lpstr>Plantilla de diseño</vt:lpstr>
      </vt:variant>
      <vt:variant>
        <vt:i4>12</vt:i4>
      </vt:variant>
      <vt:variant>
        <vt:lpstr>Servidores OLE incrustados</vt:lpstr>
      </vt:variant>
      <vt:variant>
        <vt:i4>1</vt:i4>
      </vt:variant>
      <vt:variant>
        <vt:lpstr>Títulos de diapositiva</vt:lpstr>
      </vt:variant>
      <vt:variant>
        <vt:i4>20</vt:i4>
      </vt:variant>
      <vt:variant>
        <vt:lpstr>Presentaciones personalizadas</vt:lpstr>
      </vt:variant>
      <vt:variant>
        <vt:i4>1</vt:i4>
      </vt:variant>
    </vt:vector>
  </HeadingPairs>
  <TitlesOfParts>
    <vt:vector size="38" baseType="lpstr">
      <vt:lpstr>Arial</vt:lpstr>
      <vt:lpstr>Optane</vt:lpstr>
      <vt:lpstr>Calibri</vt:lpstr>
      <vt:lpstr>Wingdings</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Office Theme</vt:lpstr>
      <vt:lpstr>think-cell Slide</vt:lpstr>
      <vt:lpstr>Diapositiva 1</vt:lpstr>
      <vt:lpstr>Diapositiva 2</vt:lpstr>
      <vt:lpstr>General Treasury of the Social Security</vt:lpstr>
      <vt:lpstr>The challenge</vt:lpstr>
      <vt:lpstr>Diapositiva 5</vt:lpstr>
      <vt:lpstr>How Analytics Helped</vt:lpstr>
      <vt:lpstr>How Analytics Helped</vt:lpstr>
      <vt:lpstr>How Analytics Helped</vt:lpstr>
      <vt:lpstr>How Analytics Helped</vt:lpstr>
      <vt:lpstr>How Analytics Helped</vt:lpstr>
      <vt:lpstr>How Analytics Helped</vt:lpstr>
      <vt:lpstr>How Analytics Helped</vt:lpstr>
      <vt:lpstr>How Analytics Helped</vt:lpstr>
      <vt:lpstr>How Analytics Helped</vt:lpstr>
      <vt:lpstr>Diapositiva 15</vt:lpstr>
      <vt:lpstr>How Analytics Helped</vt:lpstr>
      <vt:lpstr>How Analytics Helped</vt:lpstr>
      <vt:lpstr>Diapositiva 18</vt:lpstr>
      <vt:lpstr>Diapositiva 19</vt:lpstr>
      <vt:lpstr>Diapositiva 20</vt:lpstr>
      <vt:lpstr>Custom Show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00395041Q</cp:lastModifiedBy>
  <cp:revision>4228</cp:revision>
  <cp:lastPrinted>2015-01-26T19:32:44Z</cp:lastPrinted>
  <dcterms:created xsi:type="dcterms:W3CDTF">2009-02-10T04:14:03Z</dcterms:created>
  <dcterms:modified xsi:type="dcterms:W3CDTF">2015-09-23T16:16:22Z</dcterms:modified>
</cp:coreProperties>
</file>